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16" r:id="rId4"/>
    <p:sldMasterId id="2147484571" r:id="rId5"/>
    <p:sldMasterId id="2147484583" r:id="rId6"/>
    <p:sldMasterId id="2147484590" r:id="rId7"/>
  </p:sldMasterIdLst>
  <p:notesMasterIdLst>
    <p:notesMasterId r:id="rId28"/>
  </p:notesMasterIdLst>
  <p:handoutMasterIdLst>
    <p:handoutMasterId r:id="rId29"/>
  </p:handoutMasterIdLst>
  <p:sldIdLst>
    <p:sldId id="256" r:id="rId8"/>
    <p:sldId id="366" r:id="rId9"/>
    <p:sldId id="441" r:id="rId10"/>
    <p:sldId id="342" r:id="rId11"/>
    <p:sldId id="351" r:id="rId12"/>
    <p:sldId id="419" r:id="rId13"/>
    <p:sldId id="353" r:id="rId14"/>
    <p:sldId id="442" r:id="rId15"/>
    <p:sldId id="443" r:id="rId16"/>
    <p:sldId id="444" r:id="rId17"/>
    <p:sldId id="445" r:id="rId18"/>
    <p:sldId id="446" r:id="rId19"/>
    <p:sldId id="447" r:id="rId20"/>
    <p:sldId id="436" r:id="rId21"/>
    <p:sldId id="402" r:id="rId22"/>
    <p:sldId id="437" r:id="rId23"/>
    <p:sldId id="438" r:id="rId24"/>
    <p:sldId id="439" r:id="rId25"/>
    <p:sldId id="440" r:id="rId26"/>
    <p:sldId id="269" r:id="rId27"/>
  </p:sldIdLst>
  <p:sldSz cx="12192000" cy="6858000"/>
  <p:notesSz cx="7023100" cy="9309100"/>
  <p:defaultText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DC8FEE9-DA6D-4468-823D-3ACAD0FFD652}">
          <p14:sldIdLst>
            <p14:sldId id="256"/>
            <p14:sldId id="366"/>
            <p14:sldId id="441"/>
            <p14:sldId id="342"/>
            <p14:sldId id="351"/>
            <p14:sldId id="419"/>
            <p14:sldId id="353"/>
            <p14:sldId id="442"/>
            <p14:sldId id="443"/>
            <p14:sldId id="444"/>
            <p14:sldId id="445"/>
            <p14:sldId id="446"/>
            <p14:sldId id="447"/>
            <p14:sldId id="436"/>
            <p14:sldId id="402"/>
            <p14:sldId id="437"/>
            <p14:sldId id="438"/>
            <p14:sldId id="439"/>
            <p14:sldId id="440"/>
            <p14:sldId id="269"/>
          </p14:sldIdLst>
        </p14:section>
      </p14:sectionLst>
    </p:ext>
    <p:ext uri="{EFAFB233-063F-42B5-8137-9DF3F51BA10A}">
      <p15:sldGuideLst xmlns:p15="http://schemas.microsoft.com/office/powerpoint/2012/main">
        <p15:guide id="1" orient="horz" pos="142" userDrawn="1">
          <p15:clr>
            <a:srgbClr val="A4A3A4"/>
          </p15:clr>
        </p15:guide>
        <p15:guide id="2" orient="horz" pos="1320" userDrawn="1">
          <p15:clr>
            <a:srgbClr val="A4A3A4"/>
          </p15:clr>
        </p15:guide>
        <p15:guide id="3" orient="horz" pos="2456" userDrawn="1">
          <p15:clr>
            <a:srgbClr val="A4A3A4"/>
          </p15:clr>
        </p15:guide>
        <p15:guide id="4" orient="horz" pos="4177" userDrawn="1">
          <p15:clr>
            <a:srgbClr val="A4A3A4"/>
          </p15:clr>
        </p15:guide>
        <p15:guide id="5" orient="horz" pos="3072" userDrawn="1">
          <p15:clr>
            <a:srgbClr val="A4A3A4"/>
          </p15:clr>
        </p15:guide>
        <p15:guide id="6" orient="horz" pos="1944" userDrawn="1">
          <p15:clr>
            <a:srgbClr val="A4A3A4"/>
          </p15:clr>
        </p15:guide>
        <p15:guide id="7" orient="horz" pos="624" userDrawn="1">
          <p15:clr>
            <a:srgbClr val="A4A3A4"/>
          </p15:clr>
        </p15:guide>
        <p15:guide id="8" orient="horz" pos="3672" userDrawn="1">
          <p15:clr>
            <a:srgbClr val="A4A3A4"/>
          </p15:clr>
        </p15:guide>
        <p15:guide id="9" pos="1032" userDrawn="1">
          <p15:clr>
            <a:srgbClr val="A4A3A4"/>
          </p15:clr>
        </p15:guide>
        <p15:guide id="10" pos="2688" userDrawn="1">
          <p15:clr>
            <a:srgbClr val="A4A3A4"/>
          </p15:clr>
        </p15:guide>
        <p15:guide id="11" pos="1944" userDrawn="1">
          <p15:clr>
            <a:srgbClr val="A4A3A4"/>
          </p15:clr>
        </p15:guide>
        <p15:guide id="12" pos="3648" userDrawn="1">
          <p15:clr>
            <a:srgbClr val="A4A3A4"/>
          </p15:clr>
        </p15:guide>
        <p15:guide id="13" pos="4995" userDrawn="1">
          <p15:clr>
            <a:srgbClr val="A4A3A4"/>
          </p15:clr>
        </p15:guide>
        <p15:guide id="14" pos="4225" userDrawn="1">
          <p15:clr>
            <a:srgbClr val="A4A3A4"/>
          </p15:clr>
        </p15:guide>
        <p15:guide id="15" pos="5761" userDrawn="1">
          <p15:clr>
            <a:srgbClr val="A4A3A4"/>
          </p15:clr>
        </p15:guide>
        <p15:guide id="16" pos="6531" userDrawn="1">
          <p15:clr>
            <a:srgbClr val="A4A3A4"/>
          </p15:clr>
        </p15:guide>
        <p15:guide id="17" pos="7299" userDrawn="1">
          <p15:clr>
            <a:srgbClr val="A4A3A4"/>
          </p15:clr>
        </p15:guide>
        <p15:guide id="18" pos="264" userDrawn="1">
          <p15:clr>
            <a:srgbClr val="A4A3A4"/>
          </p15:clr>
        </p15:guide>
        <p15:guide id="19" orient="horz" pos="2904">
          <p15:clr>
            <a:srgbClr val="A4A3A4"/>
          </p15:clr>
        </p15:guide>
        <p15:guide id="20" pos="4194">
          <p15:clr>
            <a:srgbClr val="A4A3A4"/>
          </p15:clr>
        </p15:guide>
        <p15:guide id="21" pos="1892">
          <p15:clr>
            <a:srgbClr val="A4A3A4"/>
          </p15:clr>
        </p15:guide>
        <p15:guide id="22" pos="3267">
          <p15:clr>
            <a:srgbClr val="A4A3A4"/>
          </p15:clr>
        </p15:guide>
        <p15:guide id="23" orient="horz" pos="2259">
          <p15:clr>
            <a:srgbClr val="A4A3A4"/>
          </p15:clr>
        </p15:guide>
        <p15:guide id="24" orient="horz" pos="3896">
          <p15:clr>
            <a:srgbClr val="A4A3A4"/>
          </p15:clr>
        </p15:guide>
        <p15:guide id="25" pos="2661">
          <p15:clr>
            <a:srgbClr val="A4A3A4"/>
          </p15:clr>
        </p15:guide>
        <p15:guide id="26" pos="224">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1" clrIdx="1"/>
  <p:cmAuthor id="2" name="Sarah Lundy (Becauz LLC)" initials="SL(L" lastIdx="68" clrIdx="2">
    <p:extLst/>
  </p:cmAuthor>
  <p:cmAuthor id="3" name="Lisa MacLeod" initials=""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6D1F"/>
    <a:srgbClr val="555456"/>
    <a:srgbClr val="526F82"/>
    <a:srgbClr val="717073"/>
    <a:srgbClr val="9FA617"/>
    <a:srgbClr val="7493A7"/>
    <a:srgbClr val="808000"/>
    <a:srgbClr val="4D090E"/>
    <a:srgbClr val="000080"/>
    <a:srgbClr val="3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394" autoAdjust="0"/>
    <p:restoredTop sz="99261" autoAdjust="0"/>
  </p:normalViewPr>
  <p:slideViewPr>
    <p:cSldViewPr snapToGrid="0">
      <p:cViewPr varScale="1">
        <p:scale>
          <a:sx n="73" d="100"/>
          <a:sy n="73" d="100"/>
        </p:scale>
        <p:origin x="198" y="72"/>
      </p:cViewPr>
      <p:guideLst>
        <p:guide orient="horz" pos="142"/>
        <p:guide orient="horz" pos="1320"/>
        <p:guide orient="horz" pos="2456"/>
        <p:guide orient="horz" pos="4177"/>
        <p:guide orient="horz" pos="3072"/>
        <p:guide orient="horz" pos="1944"/>
        <p:guide orient="horz" pos="624"/>
        <p:guide orient="horz" pos="3672"/>
        <p:guide pos="1032"/>
        <p:guide pos="2688"/>
        <p:guide pos="1944"/>
        <p:guide pos="3648"/>
        <p:guide pos="4995"/>
        <p:guide pos="4225"/>
        <p:guide pos="5761"/>
        <p:guide pos="6531"/>
        <p:guide pos="7299"/>
        <p:guide pos="264"/>
        <p:guide orient="horz" pos="2904"/>
        <p:guide pos="4194"/>
        <p:guide pos="1892"/>
        <p:guide pos="3267"/>
        <p:guide orient="horz" pos="2259"/>
        <p:guide orient="horz" pos="3896"/>
        <p:guide pos="2661"/>
        <p:guide pos="224"/>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varScale="1">
      <p:scale>
        <a:sx n="1" d="1"/>
        <a:sy n="1" d="1"/>
      </p:scale>
      <p:origin x="0" y="-186"/>
    </p:cViewPr>
  </p:sorterViewPr>
  <p:notesViewPr>
    <p:cSldViewPr snapToGrid="0" showGuides="1">
      <p:cViewPr varScale="1">
        <p:scale>
          <a:sx n="87" d="100"/>
          <a:sy n="87" d="100"/>
        </p:scale>
        <p:origin x="-3904" y="-128"/>
      </p:cViewPr>
      <p:guideLst>
        <p:guide orient="horz" pos="2932"/>
        <p:guide pos="221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commentAuthors" Target="commentAuthors.xml"/></Relationships>
</file>

<file path=ppt/_rels/viewProps.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slide" Target="slides/slide4.xml"/><Relationship Id="rId1"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6DEB04-35DE-45F0-9B53-4ADB8B41A2C5}" type="doc">
      <dgm:prSet loTypeId="urn:microsoft.com/office/officeart/2005/8/layout/arrow2" loCatId="process" qsTypeId="urn:microsoft.com/office/officeart/2005/8/quickstyle/simple1" qsCatId="simple" csTypeId="urn:microsoft.com/office/officeart/2005/8/colors/colorful5" csCatId="colorful" phldr="1"/>
      <dgm:spPr/>
    </dgm:pt>
    <dgm:pt modelId="{E1BAD97A-D0F8-4E96-B60C-8D20CE7441F7}">
      <dgm:prSet phldrT="[Text]"/>
      <dgm:spPr/>
      <dgm:t>
        <a:bodyPr/>
        <a:lstStyle/>
        <a:p>
          <a:r>
            <a:rPr lang="en-US" dirty="0" smtClean="0"/>
            <a:t>Establish Criteria</a:t>
          </a:r>
        </a:p>
        <a:p>
          <a:r>
            <a:rPr lang="en-US" dirty="0" smtClean="0"/>
            <a:t> March</a:t>
          </a:r>
          <a:endParaRPr lang="en-US" dirty="0"/>
        </a:p>
      </dgm:t>
    </dgm:pt>
    <dgm:pt modelId="{E4F41225-E7DA-413C-970E-1594BED76EE3}" type="parTrans" cxnId="{FC3C9238-2FC8-456A-B743-E63050CE96FB}">
      <dgm:prSet/>
      <dgm:spPr/>
      <dgm:t>
        <a:bodyPr/>
        <a:lstStyle/>
        <a:p>
          <a:endParaRPr lang="en-US"/>
        </a:p>
      </dgm:t>
    </dgm:pt>
    <dgm:pt modelId="{14BC01B2-E3A8-41C5-9828-6B06716EB82E}" type="sibTrans" cxnId="{FC3C9238-2FC8-456A-B743-E63050CE96FB}">
      <dgm:prSet/>
      <dgm:spPr/>
      <dgm:t>
        <a:bodyPr/>
        <a:lstStyle/>
        <a:p>
          <a:endParaRPr lang="en-US"/>
        </a:p>
      </dgm:t>
    </dgm:pt>
    <dgm:pt modelId="{276C5E88-988C-4D3B-BB56-44474BFDB3F6}">
      <dgm:prSet phldrT="[Text]"/>
      <dgm:spPr/>
      <dgm:t>
        <a:bodyPr/>
        <a:lstStyle/>
        <a:p>
          <a:r>
            <a:rPr lang="en-US" dirty="0" smtClean="0"/>
            <a:t>Weight Criteria</a:t>
          </a:r>
        </a:p>
        <a:p>
          <a:r>
            <a:rPr lang="en-US" dirty="0" smtClean="0"/>
            <a:t>April-June</a:t>
          </a:r>
          <a:endParaRPr lang="en-US" dirty="0"/>
        </a:p>
      </dgm:t>
    </dgm:pt>
    <dgm:pt modelId="{D1BC6658-0FA1-459E-8C94-0F373ACD9365}" type="parTrans" cxnId="{E39CA257-E253-4F8F-AAB1-7511177FBD25}">
      <dgm:prSet/>
      <dgm:spPr/>
      <dgm:t>
        <a:bodyPr/>
        <a:lstStyle/>
        <a:p>
          <a:endParaRPr lang="en-US"/>
        </a:p>
      </dgm:t>
    </dgm:pt>
    <dgm:pt modelId="{0A328EB1-D19D-4B4D-9D46-40774FCD5B6B}" type="sibTrans" cxnId="{E39CA257-E253-4F8F-AAB1-7511177FBD25}">
      <dgm:prSet/>
      <dgm:spPr/>
      <dgm:t>
        <a:bodyPr/>
        <a:lstStyle/>
        <a:p>
          <a:endParaRPr lang="en-US"/>
        </a:p>
      </dgm:t>
    </dgm:pt>
    <dgm:pt modelId="{2AEBA457-6433-4679-B565-AD4646B2507E}">
      <dgm:prSet phldrT="[Text]"/>
      <dgm:spPr/>
      <dgm:t>
        <a:bodyPr/>
        <a:lstStyle/>
        <a:p>
          <a:r>
            <a:rPr lang="en-US" dirty="0" smtClean="0"/>
            <a:t>Gather Decision Packages</a:t>
          </a:r>
        </a:p>
        <a:p>
          <a:r>
            <a:rPr lang="en-US" dirty="0" smtClean="0"/>
            <a:t>July-September</a:t>
          </a:r>
          <a:endParaRPr lang="en-US" dirty="0"/>
        </a:p>
      </dgm:t>
    </dgm:pt>
    <dgm:pt modelId="{15056DB6-1ECD-4DFD-8399-CEA45EB36D4E}" type="parTrans" cxnId="{DB540B6E-C023-4F30-B128-A3A41C34B330}">
      <dgm:prSet/>
      <dgm:spPr/>
      <dgm:t>
        <a:bodyPr/>
        <a:lstStyle/>
        <a:p>
          <a:endParaRPr lang="en-US"/>
        </a:p>
      </dgm:t>
    </dgm:pt>
    <dgm:pt modelId="{B371613A-3F39-407F-AE8B-DC156837C9EB}" type="sibTrans" cxnId="{DB540B6E-C023-4F30-B128-A3A41C34B330}">
      <dgm:prSet/>
      <dgm:spPr/>
      <dgm:t>
        <a:bodyPr/>
        <a:lstStyle/>
        <a:p>
          <a:endParaRPr lang="en-US"/>
        </a:p>
      </dgm:t>
    </dgm:pt>
    <dgm:pt modelId="{4596BDC5-EF40-475A-9703-3C593AD34AE4}">
      <dgm:prSet phldrT="[Text]"/>
      <dgm:spPr/>
      <dgm:t>
        <a:bodyPr/>
        <a:lstStyle/>
        <a:p>
          <a:r>
            <a:rPr lang="en-US" dirty="0" smtClean="0"/>
            <a:t>Score Decision Packages</a:t>
          </a:r>
        </a:p>
        <a:p>
          <a:r>
            <a:rPr lang="en-US" dirty="0" smtClean="0"/>
            <a:t>September-October</a:t>
          </a:r>
          <a:endParaRPr lang="en-US" dirty="0"/>
        </a:p>
      </dgm:t>
    </dgm:pt>
    <dgm:pt modelId="{37648F80-94A2-4AF7-A0CD-7835FB10F02D}" type="parTrans" cxnId="{301A3055-4BF0-40B1-A0C9-0B90848196A6}">
      <dgm:prSet/>
      <dgm:spPr/>
      <dgm:t>
        <a:bodyPr/>
        <a:lstStyle/>
        <a:p>
          <a:endParaRPr lang="en-US"/>
        </a:p>
      </dgm:t>
    </dgm:pt>
    <dgm:pt modelId="{7D9C6BC3-5C68-4A69-8659-68804CBED7EF}" type="sibTrans" cxnId="{301A3055-4BF0-40B1-A0C9-0B90848196A6}">
      <dgm:prSet/>
      <dgm:spPr/>
      <dgm:t>
        <a:bodyPr/>
        <a:lstStyle/>
        <a:p>
          <a:endParaRPr lang="en-US"/>
        </a:p>
      </dgm:t>
    </dgm:pt>
    <dgm:pt modelId="{1CAEF56C-A8E1-475C-89BD-CC291E2DB0B9}">
      <dgm:prSet phldrT="[Text]"/>
      <dgm:spPr/>
      <dgm:t>
        <a:bodyPr/>
        <a:lstStyle/>
        <a:p>
          <a:r>
            <a:rPr lang="en-US" dirty="0" smtClean="0"/>
            <a:t>Publish Ranked List</a:t>
          </a:r>
        </a:p>
        <a:p>
          <a:r>
            <a:rPr lang="en-US" dirty="0" smtClean="0"/>
            <a:t>December</a:t>
          </a:r>
          <a:endParaRPr lang="en-US" dirty="0"/>
        </a:p>
      </dgm:t>
    </dgm:pt>
    <dgm:pt modelId="{2C5A28DA-CFD6-4EB3-992C-3EDBA852DC53}" type="parTrans" cxnId="{F674291B-5B03-451D-BB9B-7CFC8BC2D0BD}">
      <dgm:prSet/>
      <dgm:spPr/>
      <dgm:t>
        <a:bodyPr/>
        <a:lstStyle/>
        <a:p>
          <a:endParaRPr lang="en-US"/>
        </a:p>
      </dgm:t>
    </dgm:pt>
    <dgm:pt modelId="{31D389C8-1EB7-40DE-B62B-CA473AFA5D7D}" type="sibTrans" cxnId="{F674291B-5B03-451D-BB9B-7CFC8BC2D0BD}">
      <dgm:prSet/>
      <dgm:spPr/>
      <dgm:t>
        <a:bodyPr/>
        <a:lstStyle/>
        <a:p>
          <a:endParaRPr lang="en-US"/>
        </a:p>
      </dgm:t>
    </dgm:pt>
    <dgm:pt modelId="{B54D97B2-C994-499F-A463-5822AA1160F7}" type="pres">
      <dgm:prSet presAssocID="{EF6DEB04-35DE-45F0-9B53-4ADB8B41A2C5}" presName="arrowDiagram" presStyleCnt="0">
        <dgm:presLayoutVars>
          <dgm:chMax val="5"/>
          <dgm:dir/>
          <dgm:resizeHandles val="exact"/>
        </dgm:presLayoutVars>
      </dgm:prSet>
      <dgm:spPr/>
    </dgm:pt>
    <dgm:pt modelId="{F7AC83B7-FD94-42AD-BA89-480787CCCAB8}" type="pres">
      <dgm:prSet presAssocID="{EF6DEB04-35DE-45F0-9B53-4ADB8B41A2C5}" presName="arrow" presStyleLbl="bgShp" presStyleIdx="0" presStyleCnt="1"/>
      <dgm:spPr/>
    </dgm:pt>
    <dgm:pt modelId="{8BE17035-1BD3-4366-8812-C603547EEEB9}" type="pres">
      <dgm:prSet presAssocID="{EF6DEB04-35DE-45F0-9B53-4ADB8B41A2C5}" presName="arrowDiagram5" presStyleCnt="0"/>
      <dgm:spPr/>
    </dgm:pt>
    <dgm:pt modelId="{5D83DCF7-7E15-4D3D-8F11-5AC90DD66F16}" type="pres">
      <dgm:prSet presAssocID="{E1BAD97A-D0F8-4E96-B60C-8D20CE7441F7}" presName="bullet5a" presStyleLbl="node1" presStyleIdx="0" presStyleCnt="5"/>
      <dgm:spPr/>
    </dgm:pt>
    <dgm:pt modelId="{7E63FCFD-42F8-4210-BEF1-1E33DAA55592}" type="pres">
      <dgm:prSet presAssocID="{E1BAD97A-D0F8-4E96-B60C-8D20CE7441F7}" presName="textBox5a" presStyleLbl="revTx" presStyleIdx="0" presStyleCnt="5">
        <dgm:presLayoutVars>
          <dgm:bulletEnabled val="1"/>
        </dgm:presLayoutVars>
      </dgm:prSet>
      <dgm:spPr/>
      <dgm:t>
        <a:bodyPr/>
        <a:lstStyle/>
        <a:p>
          <a:endParaRPr lang="en-US"/>
        </a:p>
      </dgm:t>
    </dgm:pt>
    <dgm:pt modelId="{2A20100A-464E-4F76-86AC-4C979D7F7709}" type="pres">
      <dgm:prSet presAssocID="{276C5E88-988C-4D3B-BB56-44474BFDB3F6}" presName="bullet5b" presStyleLbl="node1" presStyleIdx="1" presStyleCnt="5"/>
      <dgm:spPr/>
    </dgm:pt>
    <dgm:pt modelId="{3039B67C-1C6D-4BFC-8744-F659E4E16968}" type="pres">
      <dgm:prSet presAssocID="{276C5E88-988C-4D3B-BB56-44474BFDB3F6}" presName="textBox5b" presStyleLbl="revTx" presStyleIdx="1" presStyleCnt="5">
        <dgm:presLayoutVars>
          <dgm:bulletEnabled val="1"/>
        </dgm:presLayoutVars>
      </dgm:prSet>
      <dgm:spPr/>
      <dgm:t>
        <a:bodyPr/>
        <a:lstStyle/>
        <a:p>
          <a:endParaRPr lang="en-US"/>
        </a:p>
      </dgm:t>
    </dgm:pt>
    <dgm:pt modelId="{63AEC9B2-AAF8-41E9-A5E3-18B4CA9DE8C6}" type="pres">
      <dgm:prSet presAssocID="{2AEBA457-6433-4679-B565-AD4646B2507E}" presName="bullet5c" presStyleLbl="node1" presStyleIdx="2" presStyleCnt="5"/>
      <dgm:spPr/>
    </dgm:pt>
    <dgm:pt modelId="{83531552-EDFE-44EA-8A87-37DBF84F8836}" type="pres">
      <dgm:prSet presAssocID="{2AEBA457-6433-4679-B565-AD4646B2507E}" presName="textBox5c" presStyleLbl="revTx" presStyleIdx="2" presStyleCnt="5">
        <dgm:presLayoutVars>
          <dgm:bulletEnabled val="1"/>
        </dgm:presLayoutVars>
      </dgm:prSet>
      <dgm:spPr/>
      <dgm:t>
        <a:bodyPr/>
        <a:lstStyle/>
        <a:p>
          <a:endParaRPr lang="en-US"/>
        </a:p>
      </dgm:t>
    </dgm:pt>
    <dgm:pt modelId="{93A3A3F5-BE25-4497-9AF2-E694833CD545}" type="pres">
      <dgm:prSet presAssocID="{4596BDC5-EF40-475A-9703-3C593AD34AE4}" presName="bullet5d" presStyleLbl="node1" presStyleIdx="3" presStyleCnt="5"/>
      <dgm:spPr/>
    </dgm:pt>
    <dgm:pt modelId="{BBFE8CF3-6436-4971-A0B4-50E7E914E609}" type="pres">
      <dgm:prSet presAssocID="{4596BDC5-EF40-475A-9703-3C593AD34AE4}" presName="textBox5d" presStyleLbl="revTx" presStyleIdx="3" presStyleCnt="5">
        <dgm:presLayoutVars>
          <dgm:bulletEnabled val="1"/>
        </dgm:presLayoutVars>
      </dgm:prSet>
      <dgm:spPr/>
      <dgm:t>
        <a:bodyPr/>
        <a:lstStyle/>
        <a:p>
          <a:endParaRPr lang="en-US"/>
        </a:p>
      </dgm:t>
    </dgm:pt>
    <dgm:pt modelId="{B0451D2E-4A87-4080-A759-49DD00AFD8D2}" type="pres">
      <dgm:prSet presAssocID="{1CAEF56C-A8E1-475C-89BD-CC291E2DB0B9}" presName="bullet5e" presStyleLbl="node1" presStyleIdx="4" presStyleCnt="5"/>
      <dgm:spPr/>
    </dgm:pt>
    <dgm:pt modelId="{77690F18-4BA1-4912-B368-C8E32EB0FF7E}" type="pres">
      <dgm:prSet presAssocID="{1CAEF56C-A8E1-475C-89BD-CC291E2DB0B9}" presName="textBox5e" presStyleLbl="revTx" presStyleIdx="4" presStyleCnt="5">
        <dgm:presLayoutVars>
          <dgm:bulletEnabled val="1"/>
        </dgm:presLayoutVars>
      </dgm:prSet>
      <dgm:spPr/>
      <dgm:t>
        <a:bodyPr/>
        <a:lstStyle/>
        <a:p>
          <a:endParaRPr lang="en-US"/>
        </a:p>
      </dgm:t>
    </dgm:pt>
  </dgm:ptLst>
  <dgm:cxnLst>
    <dgm:cxn modelId="{A196C35D-1859-4D4D-92EE-3E8E5FCEC3C2}" type="presOf" srcId="{4596BDC5-EF40-475A-9703-3C593AD34AE4}" destId="{BBFE8CF3-6436-4971-A0B4-50E7E914E609}" srcOrd="0" destOrd="0" presId="urn:microsoft.com/office/officeart/2005/8/layout/arrow2"/>
    <dgm:cxn modelId="{DB540B6E-C023-4F30-B128-A3A41C34B330}" srcId="{EF6DEB04-35DE-45F0-9B53-4ADB8B41A2C5}" destId="{2AEBA457-6433-4679-B565-AD4646B2507E}" srcOrd="2" destOrd="0" parTransId="{15056DB6-1ECD-4DFD-8399-CEA45EB36D4E}" sibTransId="{B371613A-3F39-407F-AE8B-DC156837C9EB}"/>
    <dgm:cxn modelId="{FC3C9238-2FC8-456A-B743-E63050CE96FB}" srcId="{EF6DEB04-35DE-45F0-9B53-4ADB8B41A2C5}" destId="{E1BAD97A-D0F8-4E96-B60C-8D20CE7441F7}" srcOrd="0" destOrd="0" parTransId="{E4F41225-E7DA-413C-970E-1594BED76EE3}" sibTransId="{14BC01B2-E3A8-41C5-9828-6B06716EB82E}"/>
    <dgm:cxn modelId="{301A3055-4BF0-40B1-A0C9-0B90848196A6}" srcId="{EF6DEB04-35DE-45F0-9B53-4ADB8B41A2C5}" destId="{4596BDC5-EF40-475A-9703-3C593AD34AE4}" srcOrd="3" destOrd="0" parTransId="{37648F80-94A2-4AF7-A0CD-7835FB10F02D}" sibTransId="{7D9C6BC3-5C68-4A69-8659-68804CBED7EF}"/>
    <dgm:cxn modelId="{2A4E14CD-81C0-405B-9854-D27601838D0A}" type="presOf" srcId="{E1BAD97A-D0F8-4E96-B60C-8D20CE7441F7}" destId="{7E63FCFD-42F8-4210-BEF1-1E33DAA55592}" srcOrd="0" destOrd="0" presId="urn:microsoft.com/office/officeart/2005/8/layout/arrow2"/>
    <dgm:cxn modelId="{34A431AE-83B4-4EFF-84A1-9DAD15F63750}" type="presOf" srcId="{2AEBA457-6433-4679-B565-AD4646B2507E}" destId="{83531552-EDFE-44EA-8A87-37DBF84F8836}" srcOrd="0" destOrd="0" presId="urn:microsoft.com/office/officeart/2005/8/layout/arrow2"/>
    <dgm:cxn modelId="{CB3CA8E9-6C5A-43E4-8B13-EA9F1B8E1B5F}" type="presOf" srcId="{276C5E88-988C-4D3B-BB56-44474BFDB3F6}" destId="{3039B67C-1C6D-4BFC-8744-F659E4E16968}" srcOrd="0" destOrd="0" presId="urn:microsoft.com/office/officeart/2005/8/layout/arrow2"/>
    <dgm:cxn modelId="{0B816839-6A0C-4FE1-829D-3014E5B4B0EF}" type="presOf" srcId="{1CAEF56C-A8E1-475C-89BD-CC291E2DB0B9}" destId="{77690F18-4BA1-4912-B368-C8E32EB0FF7E}" srcOrd="0" destOrd="0" presId="urn:microsoft.com/office/officeart/2005/8/layout/arrow2"/>
    <dgm:cxn modelId="{F674291B-5B03-451D-BB9B-7CFC8BC2D0BD}" srcId="{EF6DEB04-35DE-45F0-9B53-4ADB8B41A2C5}" destId="{1CAEF56C-A8E1-475C-89BD-CC291E2DB0B9}" srcOrd="4" destOrd="0" parTransId="{2C5A28DA-CFD6-4EB3-992C-3EDBA852DC53}" sibTransId="{31D389C8-1EB7-40DE-B62B-CA473AFA5D7D}"/>
    <dgm:cxn modelId="{E39CA257-E253-4F8F-AAB1-7511177FBD25}" srcId="{EF6DEB04-35DE-45F0-9B53-4ADB8B41A2C5}" destId="{276C5E88-988C-4D3B-BB56-44474BFDB3F6}" srcOrd="1" destOrd="0" parTransId="{D1BC6658-0FA1-459E-8C94-0F373ACD9365}" sibTransId="{0A328EB1-D19D-4B4D-9D46-40774FCD5B6B}"/>
    <dgm:cxn modelId="{4BB979E0-D4DE-4DCC-8905-119AD78C3FF3}" type="presOf" srcId="{EF6DEB04-35DE-45F0-9B53-4ADB8B41A2C5}" destId="{B54D97B2-C994-499F-A463-5822AA1160F7}" srcOrd="0" destOrd="0" presId="urn:microsoft.com/office/officeart/2005/8/layout/arrow2"/>
    <dgm:cxn modelId="{5514A30D-89DD-4AAE-8A94-B4C11E4E93BD}" type="presParOf" srcId="{B54D97B2-C994-499F-A463-5822AA1160F7}" destId="{F7AC83B7-FD94-42AD-BA89-480787CCCAB8}" srcOrd="0" destOrd="0" presId="urn:microsoft.com/office/officeart/2005/8/layout/arrow2"/>
    <dgm:cxn modelId="{9030DE01-95AA-4062-BDEC-AA39E12401F8}" type="presParOf" srcId="{B54D97B2-C994-499F-A463-5822AA1160F7}" destId="{8BE17035-1BD3-4366-8812-C603547EEEB9}" srcOrd="1" destOrd="0" presId="urn:microsoft.com/office/officeart/2005/8/layout/arrow2"/>
    <dgm:cxn modelId="{06248AF4-53D0-4DE1-85B3-92A44DFEEA3F}" type="presParOf" srcId="{8BE17035-1BD3-4366-8812-C603547EEEB9}" destId="{5D83DCF7-7E15-4D3D-8F11-5AC90DD66F16}" srcOrd="0" destOrd="0" presId="urn:microsoft.com/office/officeart/2005/8/layout/arrow2"/>
    <dgm:cxn modelId="{AA83BB01-04D9-48C2-BC91-CFD03838D7E2}" type="presParOf" srcId="{8BE17035-1BD3-4366-8812-C603547EEEB9}" destId="{7E63FCFD-42F8-4210-BEF1-1E33DAA55592}" srcOrd="1" destOrd="0" presId="urn:microsoft.com/office/officeart/2005/8/layout/arrow2"/>
    <dgm:cxn modelId="{8D222FBE-9737-43D0-BFAC-3DB9B50CE4B2}" type="presParOf" srcId="{8BE17035-1BD3-4366-8812-C603547EEEB9}" destId="{2A20100A-464E-4F76-86AC-4C979D7F7709}" srcOrd="2" destOrd="0" presId="urn:microsoft.com/office/officeart/2005/8/layout/arrow2"/>
    <dgm:cxn modelId="{1328FE21-CA42-466C-AA8E-8EEBDDB81F4F}" type="presParOf" srcId="{8BE17035-1BD3-4366-8812-C603547EEEB9}" destId="{3039B67C-1C6D-4BFC-8744-F659E4E16968}" srcOrd="3" destOrd="0" presId="urn:microsoft.com/office/officeart/2005/8/layout/arrow2"/>
    <dgm:cxn modelId="{A8C4F515-66FB-4B85-A60F-1A33B6E29963}" type="presParOf" srcId="{8BE17035-1BD3-4366-8812-C603547EEEB9}" destId="{63AEC9B2-AAF8-41E9-A5E3-18B4CA9DE8C6}" srcOrd="4" destOrd="0" presId="urn:microsoft.com/office/officeart/2005/8/layout/arrow2"/>
    <dgm:cxn modelId="{636AEA13-4F6F-493F-A53F-410131C17A5B}" type="presParOf" srcId="{8BE17035-1BD3-4366-8812-C603547EEEB9}" destId="{83531552-EDFE-44EA-8A87-37DBF84F8836}" srcOrd="5" destOrd="0" presId="urn:microsoft.com/office/officeart/2005/8/layout/arrow2"/>
    <dgm:cxn modelId="{8D62B302-CC1E-4794-AB10-B4EBC4FEEDD6}" type="presParOf" srcId="{8BE17035-1BD3-4366-8812-C603547EEEB9}" destId="{93A3A3F5-BE25-4497-9AF2-E694833CD545}" srcOrd="6" destOrd="0" presId="urn:microsoft.com/office/officeart/2005/8/layout/arrow2"/>
    <dgm:cxn modelId="{A4BCAB16-B8AB-4990-9C2D-6F975490F981}" type="presParOf" srcId="{8BE17035-1BD3-4366-8812-C603547EEEB9}" destId="{BBFE8CF3-6436-4971-A0B4-50E7E914E609}" srcOrd="7" destOrd="0" presId="urn:microsoft.com/office/officeart/2005/8/layout/arrow2"/>
    <dgm:cxn modelId="{13A54E2C-EA6C-45FD-8AD4-2BE0420CCBAF}" type="presParOf" srcId="{8BE17035-1BD3-4366-8812-C603547EEEB9}" destId="{B0451D2E-4A87-4080-A759-49DD00AFD8D2}" srcOrd="8" destOrd="0" presId="urn:microsoft.com/office/officeart/2005/8/layout/arrow2"/>
    <dgm:cxn modelId="{38F346E3-8EFD-4C66-B237-D49DD7EA38EC}" type="presParOf" srcId="{8BE17035-1BD3-4366-8812-C603547EEEB9}" destId="{77690F18-4BA1-4912-B368-C8E32EB0FF7E}"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D8F157-34A2-419B-9914-418B7D7E17D8}"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D3CA7A9D-0C68-4A7A-BEB3-EDB71060A50F}">
      <dgm:prSet phldrT="[Text]"/>
      <dgm:spPr/>
      <dgm:t>
        <a:bodyPr/>
        <a:lstStyle/>
        <a:p>
          <a:r>
            <a:rPr lang="en-US" dirty="0"/>
            <a:t>In Progress</a:t>
          </a:r>
        </a:p>
      </dgm:t>
    </dgm:pt>
    <dgm:pt modelId="{3B9A9054-D418-4D11-A485-10102A1D2A39}" type="parTrans" cxnId="{72641169-9BA5-408B-ACAE-6AC61876F5A6}">
      <dgm:prSet/>
      <dgm:spPr/>
      <dgm:t>
        <a:bodyPr/>
        <a:lstStyle/>
        <a:p>
          <a:endParaRPr lang="en-US"/>
        </a:p>
      </dgm:t>
    </dgm:pt>
    <dgm:pt modelId="{F224AA52-CE9E-4335-94AD-08C10428DD75}" type="sibTrans" cxnId="{72641169-9BA5-408B-ACAE-6AC61876F5A6}">
      <dgm:prSet/>
      <dgm:spPr/>
      <dgm:t>
        <a:bodyPr/>
        <a:lstStyle/>
        <a:p>
          <a:endParaRPr lang="en-US"/>
        </a:p>
      </dgm:t>
    </dgm:pt>
    <dgm:pt modelId="{B4CE1F39-9746-4C1D-AE75-40B5FCFADEB1}">
      <dgm:prSet phldrT="[Text]"/>
      <dgm:spPr/>
      <dgm:t>
        <a:bodyPr/>
        <a:lstStyle/>
        <a:p>
          <a:r>
            <a:rPr lang="en-US" dirty="0"/>
            <a:t> TSB Subcommittee on 4/16 &amp; Full TSB on 6/12</a:t>
          </a:r>
        </a:p>
      </dgm:t>
    </dgm:pt>
    <dgm:pt modelId="{434F6D88-671F-40E8-87F1-B696FAEBC7F0}" type="parTrans" cxnId="{1E2A78DE-A7EE-48CE-A86E-F92B1FD99982}">
      <dgm:prSet/>
      <dgm:spPr/>
      <dgm:t>
        <a:bodyPr/>
        <a:lstStyle/>
        <a:p>
          <a:endParaRPr lang="en-US"/>
        </a:p>
      </dgm:t>
    </dgm:pt>
    <dgm:pt modelId="{F39C713E-33D4-4681-8749-3EA154EA84DE}" type="sibTrans" cxnId="{1E2A78DE-A7EE-48CE-A86E-F92B1FD99982}">
      <dgm:prSet/>
      <dgm:spPr/>
      <dgm:t>
        <a:bodyPr/>
        <a:lstStyle/>
        <a:p>
          <a:endParaRPr lang="en-US"/>
        </a:p>
      </dgm:t>
    </dgm:pt>
    <dgm:pt modelId="{47377C29-FDBC-47E6-8DF8-CA5AE316E9F4}">
      <dgm:prSet phldrT="[Text]"/>
      <dgm:spPr/>
      <dgm:t>
        <a:bodyPr/>
        <a:lstStyle/>
        <a:p>
          <a:r>
            <a:rPr lang="en-US" dirty="0"/>
            <a:t>Major Overhaul of Policy 121 - IT Investment Approval/Oversight and related </a:t>
          </a:r>
        </a:p>
      </dgm:t>
    </dgm:pt>
    <dgm:pt modelId="{2F763A80-8E85-42B8-B869-428A7B5466F5}" type="parTrans" cxnId="{17454B6A-4DD7-42C7-A383-8292A584A0BE}">
      <dgm:prSet/>
      <dgm:spPr/>
      <dgm:t>
        <a:bodyPr/>
        <a:lstStyle/>
        <a:p>
          <a:endParaRPr lang="en-US"/>
        </a:p>
      </dgm:t>
    </dgm:pt>
    <dgm:pt modelId="{37ABA58D-69A4-4B71-BF45-A948B0792E17}" type="sibTrans" cxnId="{17454B6A-4DD7-42C7-A383-8292A584A0BE}">
      <dgm:prSet/>
      <dgm:spPr/>
      <dgm:t>
        <a:bodyPr/>
        <a:lstStyle/>
        <a:p>
          <a:endParaRPr lang="en-US"/>
        </a:p>
      </dgm:t>
    </dgm:pt>
    <dgm:pt modelId="{59BA67C7-FB9C-43D9-ABB7-237064A2DBDD}">
      <dgm:prSet/>
      <dgm:spPr/>
      <dgm:t>
        <a:bodyPr/>
        <a:lstStyle/>
        <a:p>
          <a:r>
            <a:rPr lang="en-US" dirty="0"/>
            <a:t>Project Quality Assurance (Policy 132 &amp; associated standards)</a:t>
          </a:r>
        </a:p>
      </dgm:t>
    </dgm:pt>
    <dgm:pt modelId="{5AF94CBD-40B9-4B92-8335-C366846223DA}" type="parTrans" cxnId="{AB257806-7B62-4AE2-B3F0-634F60CD54D0}">
      <dgm:prSet/>
      <dgm:spPr/>
      <dgm:t>
        <a:bodyPr/>
        <a:lstStyle/>
        <a:p>
          <a:endParaRPr lang="en-US"/>
        </a:p>
      </dgm:t>
    </dgm:pt>
    <dgm:pt modelId="{C3643E0F-A3C1-4DB2-97A5-BF7E2E627120}" type="sibTrans" cxnId="{AB257806-7B62-4AE2-B3F0-634F60CD54D0}">
      <dgm:prSet/>
      <dgm:spPr/>
      <dgm:t>
        <a:bodyPr/>
        <a:lstStyle/>
        <a:p>
          <a:endParaRPr lang="en-US"/>
        </a:p>
      </dgm:t>
    </dgm:pt>
    <dgm:pt modelId="{A72C1265-C79F-4ABB-8FE6-9C94D134BDE3}">
      <dgm:prSet phldrT="[Text]"/>
      <dgm:spPr/>
      <dgm:t>
        <a:bodyPr/>
        <a:lstStyle/>
        <a:p>
          <a:r>
            <a:rPr lang="en-US" dirty="0"/>
            <a:t>Managing IT Projects (Policy 131)</a:t>
          </a:r>
        </a:p>
      </dgm:t>
    </dgm:pt>
    <dgm:pt modelId="{BFD0CF69-1AC9-430F-A5D5-33ED98602045}" type="parTrans" cxnId="{05652563-B4FC-47A8-9DC3-4D2224FBA8AE}">
      <dgm:prSet/>
      <dgm:spPr/>
      <dgm:t>
        <a:bodyPr/>
        <a:lstStyle/>
        <a:p>
          <a:endParaRPr lang="en-US"/>
        </a:p>
      </dgm:t>
    </dgm:pt>
    <dgm:pt modelId="{120039CE-4521-41FA-BC6A-9F3DE2115210}" type="sibTrans" cxnId="{05652563-B4FC-47A8-9DC3-4D2224FBA8AE}">
      <dgm:prSet/>
      <dgm:spPr/>
      <dgm:t>
        <a:bodyPr/>
        <a:lstStyle/>
        <a:p>
          <a:endParaRPr lang="en-US"/>
        </a:p>
      </dgm:t>
    </dgm:pt>
    <dgm:pt modelId="{4BCF5544-9F71-4B71-AEAC-74245614D7F3}">
      <dgm:prSet phldrT="[Text]"/>
      <dgm:spPr/>
      <dgm:t>
        <a:bodyPr/>
        <a:lstStyle/>
        <a:p>
          <a:r>
            <a:rPr lang="en-US" dirty="0"/>
            <a:t>In the backlog (all due or overdue, no priority assigned yet)</a:t>
          </a:r>
        </a:p>
      </dgm:t>
    </dgm:pt>
    <dgm:pt modelId="{2E37D371-8D1D-467D-A0C6-5A82EB6A6600}" type="parTrans" cxnId="{3F07A1CC-B259-4127-8F32-46DB7925EDC6}">
      <dgm:prSet/>
      <dgm:spPr/>
      <dgm:t>
        <a:bodyPr/>
        <a:lstStyle/>
        <a:p>
          <a:endParaRPr lang="en-US"/>
        </a:p>
      </dgm:t>
    </dgm:pt>
    <dgm:pt modelId="{AF41D726-3E5B-4772-BC13-1C863BFDF265}" type="sibTrans" cxnId="{3F07A1CC-B259-4127-8F32-46DB7925EDC6}">
      <dgm:prSet/>
      <dgm:spPr/>
      <dgm:t>
        <a:bodyPr/>
        <a:lstStyle/>
        <a:p>
          <a:endParaRPr lang="en-US"/>
        </a:p>
      </dgm:t>
    </dgm:pt>
    <dgm:pt modelId="{1E886231-A17E-4D89-84DE-2C6F2A117EC9}">
      <dgm:prSet phldrT="[Text]"/>
      <dgm:spPr/>
      <dgm:t>
        <a:bodyPr/>
        <a:lstStyle/>
        <a:p>
          <a:r>
            <a:rPr lang="en-US" b="1" dirty="0"/>
            <a:t>TSB Subcommittee - May</a:t>
          </a:r>
        </a:p>
      </dgm:t>
    </dgm:pt>
    <dgm:pt modelId="{644DD1A9-CD9C-447B-82B4-7488F5A15CEF}" type="parTrans" cxnId="{94DF1067-FA74-4E3B-9D81-BB62843FCF65}">
      <dgm:prSet/>
      <dgm:spPr/>
      <dgm:t>
        <a:bodyPr/>
        <a:lstStyle/>
        <a:p>
          <a:endParaRPr lang="en-US"/>
        </a:p>
      </dgm:t>
    </dgm:pt>
    <dgm:pt modelId="{D259DF6C-DADE-413F-A056-F7AA8C828132}" type="sibTrans" cxnId="{94DF1067-FA74-4E3B-9D81-BB62843FCF65}">
      <dgm:prSet/>
      <dgm:spPr/>
      <dgm:t>
        <a:bodyPr/>
        <a:lstStyle/>
        <a:p>
          <a:endParaRPr lang="en-US"/>
        </a:p>
      </dgm:t>
    </dgm:pt>
    <dgm:pt modelId="{0FB782BB-9A88-4905-BF9F-93EEE07F8326}">
      <dgm:prSet/>
      <dgm:spPr/>
      <dgm:t>
        <a:bodyPr/>
        <a:lstStyle/>
        <a:p>
          <a:r>
            <a:rPr lang="en-US" dirty="0"/>
            <a:t>Interim Update to Policy 112 &amp; related standards- Managing Information Technology Portfolios</a:t>
          </a:r>
        </a:p>
      </dgm:t>
    </dgm:pt>
    <dgm:pt modelId="{A5AA6DEF-0851-4607-A7CD-B42D64BD9C14}" type="parTrans" cxnId="{65EB47C6-1374-47DD-8E60-CB1F0C3A1450}">
      <dgm:prSet/>
      <dgm:spPr/>
      <dgm:t>
        <a:bodyPr/>
        <a:lstStyle/>
        <a:p>
          <a:endParaRPr lang="en-US"/>
        </a:p>
      </dgm:t>
    </dgm:pt>
    <dgm:pt modelId="{0C954601-E6C7-4F52-82ED-621AAED8EC0C}" type="sibTrans" cxnId="{65EB47C6-1374-47DD-8E60-CB1F0C3A1450}">
      <dgm:prSet/>
      <dgm:spPr/>
      <dgm:t>
        <a:bodyPr/>
        <a:lstStyle/>
        <a:p>
          <a:endParaRPr lang="en-US"/>
        </a:p>
      </dgm:t>
    </dgm:pt>
    <dgm:pt modelId="{91862423-41AF-4208-9CCE-E984FAEB3FDF}">
      <dgm:prSet/>
      <dgm:spPr/>
      <dgm:t>
        <a:bodyPr/>
        <a:lstStyle/>
        <a:p>
          <a:r>
            <a:rPr lang="en-US" dirty="0"/>
            <a:t>Accessibility (Policy 188)</a:t>
          </a:r>
        </a:p>
      </dgm:t>
    </dgm:pt>
    <dgm:pt modelId="{66083083-0E8F-4D19-879F-70C5EB2462A3}" type="parTrans" cxnId="{87A6D80A-F5BA-43AB-B4DB-44E6806F7043}">
      <dgm:prSet/>
      <dgm:spPr/>
      <dgm:t>
        <a:bodyPr/>
        <a:lstStyle/>
        <a:p>
          <a:endParaRPr lang="en-US"/>
        </a:p>
      </dgm:t>
    </dgm:pt>
    <dgm:pt modelId="{21D12A4F-DB4A-4273-8072-1829FE8430FD}" type="sibTrans" cxnId="{87A6D80A-F5BA-43AB-B4DB-44E6806F7043}">
      <dgm:prSet/>
      <dgm:spPr/>
      <dgm:t>
        <a:bodyPr/>
        <a:lstStyle/>
        <a:p>
          <a:endParaRPr lang="en-US"/>
        </a:p>
      </dgm:t>
    </dgm:pt>
    <dgm:pt modelId="{AA891B1E-3BB1-4779-A58B-F21E80E13F46}">
      <dgm:prSet/>
      <dgm:spPr/>
      <dgm:t>
        <a:bodyPr/>
        <a:lstStyle/>
        <a:p>
          <a:r>
            <a:rPr lang="en-US" dirty="0"/>
            <a:t>New Radio related policy/standards</a:t>
          </a:r>
        </a:p>
      </dgm:t>
    </dgm:pt>
    <dgm:pt modelId="{A08B1C28-1EC4-402C-B3B7-61FDD229AA64}" type="parTrans" cxnId="{9BC81E08-C998-400E-A317-B722B0AA8712}">
      <dgm:prSet/>
      <dgm:spPr/>
      <dgm:t>
        <a:bodyPr/>
        <a:lstStyle/>
        <a:p>
          <a:endParaRPr lang="en-US"/>
        </a:p>
      </dgm:t>
    </dgm:pt>
    <dgm:pt modelId="{BCB6158D-D48D-4BC9-83E2-6357CBB2F630}" type="sibTrans" cxnId="{9BC81E08-C998-400E-A317-B722B0AA8712}">
      <dgm:prSet/>
      <dgm:spPr/>
      <dgm:t>
        <a:bodyPr/>
        <a:lstStyle/>
        <a:p>
          <a:endParaRPr lang="en-US"/>
        </a:p>
      </dgm:t>
    </dgm:pt>
    <dgm:pt modelId="{19557360-E949-476E-BFD2-32DBF6290515}">
      <dgm:prSet phldrT="[Text]"/>
      <dgm:spPr/>
      <dgm:t>
        <a:bodyPr/>
        <a:lstStyle/>
        <a:p>
          <a:r>
            <a:rPr lang="en-US" dirty="0"/>
            <a:t>Technology Policies &amp; Standards (Policy 101)</a:t>
          </a:r>
        </a:p>
      </dgm:t>
    </dgm:pt>
    <dgm:pt modelId="{CF17E862-9B17-4472-9F3D-6C4ACBEA9C09}" type="parTrans" cxnId="{216FBCE8-C446-4541-A2CD-E0C2D5DDF638}">
      <dgm:prSet/>
      <dgm:spPr/>
      <dgm:t>
        <a:bodyPr/>
        <a:lstStyle/>
        <a:p>
          <a:endParaRPr lang="en-US"/>
        </a:p>
      </dgm:t>
    </dgm:pt>
    <dgm:pt modelId="{F17FD13C-003F-45FD-83F0-01AA3D7932C7}" type="sibTrans" cxnId="{216FBCE8-C446-4541-A2CD-E0C2D5DDF638}">
      <dgm:prSet/>
      <dgm:spPr/>
      <dgm:t>
        <a:bodyPr/>
        <a:lstStyle/>
        <a:p>
          <a:endParaRPr lang="en-US"/>
        </a:p>
      </dgm:t>
    </dgm:pt>
    <dgm:pt modelId="{7C8D5C19-B876-4E1A-A8F2-744292EC4584}">
      <dgm:prSet/>
      <dgm:spPr/>
      <dgm:t>
        <a:bodyPr/>
        <a:lstStyle/>
        <a:p>
          <a:r>
            <a:rPr lang="en-US" dirty="0"/>
            <a:t>New Administrative/Financial Systems Approval Policy</a:t>
          </a:r>
        </a:p>
      </dgm:t>
    </dgm:pt>
    <dgm:pt modelId="{A8136EB3-00F4-4C65-8479-4471884BCF12}" type="parTrans" cxnId="{93CE52FC-B016-44F6-9FB5-3DD2DD9955C1}">
      <dgm:prSet/>
      <dgm:spPr/>
      <dgm:t>
        <a:bodyPr/>
        <a:lstStyle/>
        <a:p>
          <a:endParaRPr lang="en-US"/>
        </a:p>
      </dgm:t>
    </dgm:pt>
    <dgm:pt modelId="{E7EA38EA-44FA-484B-9476-B96F81D4C714}" type="sibTrans" cxnId="{93CE52FC-B016-44F6-9FB5-3DD2DD9955C1}">
      <dgm:prSet/>
      <dgm:spPr/>
      <dgm:t>
        <a:bodyPr/>
        <a:lstStyle/>
        <a:p>
          <a:endParaRPr lang="en-US"/>
        </a:p>
      </dgm:t>
    </dgm:pt>
    <dgm:pt modelId="{337C0EDF-46C3-4D49-9299-0AC0E8EB6330}">
      <dgm:prSet/>
      <dgm:spPr/>
      <dgm:t>
        <a:bodyPr/>
        <a:lstStyle/>
        <a:p>
          <a:r>
            <a:rPr lang="en-US" dirty="0"/>
            <a:t>Policy 103 - Waiver Requests (update &amp; sunset review)</a:t>
          </a:r>
        </a:p>
      </dgm:t>
    </dgm:pt>
    <dgm:pt modelId="{816435FB-02CA-49F9-B284-0F0E7935F256}" type="parTrans" cxnId="{04839E1F-3EC9-487B-991C-E0F113CE3A01}">
      <dgm:prSet/>
      <dgm:spPr/>
      <dgm:t>
        <a:bodyPr/>
        <a:lstStyle/>
        <a:p>
          <a:endParaRPr lang="en-US"/>
        </a:p>
      </dgm:t>
    </dgm:pt>
    <dgm:pt modelId="{32B250E4-58AB-401B-9E67-51B77274378E}" type="sibTrans" cxnId="{04839E1F-3EC9-487B-991C-E0F113CE3A01}">
      <dgm:prSet/>
      <dgm:spPr/>
      <dgm:t>
        <a:bodyPr/>
        <a:lstStyle/>
        <a:p>
          <a:endParaRPr lang="en-US"/>
        </a:p>
      </dgm:t>
    </dgm:pt>
    <dgm:pt modelId="{D55B5ECF-990E-48D6-82B4-017FC3B72D4F}">
      <dgm:prSet/>
      <dgm:spPr/>
      <dgm:t>
        <a:bodyPr/>
        <a:lstStyle/>
        <a:p>
          <a:r>
            <a:rPr lang="en-US" dirty="0"/>
            <a:t>Rescind five SOA &amp; Integration (Standards 183.10.10 through 183.30.30) (sunset review) </a:t>
          </a:r>
        </a:p>
      </dgm:t>
    </dgm:pt>
    <dgm:pt modelId="{76EC6182-7E09-4047-99E7-3AAD1AFCCAA8}" type="parTrans" cxnId="{9F78C2B8-87AC-4006-891B-B81A17DC5F1D}">
      <dgm:prSet/>
      <dgm:spPr/>
      <dgm:t>
        <a:bodyPr/>
        <a:lstStyle/>
        <a:p>
          <a:endParaRPr lang="en-US"/>
        </a:p>
      </dgm:t>
    </dgm:pt>
    <dgm:pt modelId="{24CF50F1-7F34-4FD2-B46F-FB82BE9F45F9}" type="sibTrans" cxnId="{9F78C2B8-87AC-4006-891B-B81A17DC5F1D}">
      <dgm:prSet/>
      <dgm:spPr/>
      <dgm:t>
        <a:bodyPr/>
        <a:lstStyle/>
        <a:p>
          <a:endParaRPr lang="en-US"/>
        </a:p>
      </dgm:t>
    </dgm:pt>
    <dgm:pt modelId="{815D5078-9F8E-4BE3-ACF2-C30249B588FF}">
      <dgm:prSet/>
      <dgm:spPr/>
      <dgm:t>
        <a:bodyPr/>
        <a:lstStyle/>
        <a:p>
          <a:r>
            <a:rPr lang="en-US" dirty="0"/>
            <a:t>Policy 143 - IT Security Incident Communication (update &amp; sunset review)</a:t>
          </a:r>
        </a:p>
      </dgm:t>
    </dgm:pt>
    <dgm:pt modelId="{FE7C2FFB-CB0D-46F3-964E-CD64888D2174}" type="parTrans" cxnId="{F88377E0-EEFD-4386-B559-0DD5E7864A2D}">
      <dgm:prSet/>
      <dgm:spPr/>
      <dgm:t>
        <a:bodyPr/>
        <a:lstStyle/>
        <a:p>
          <a:endParaRPr lang="en-US"/>
        </a:p>
      </dgm:t>
    </dgm:pt>
    <dgm:pt modelId="{85400797-7607-4D74-9490-E3B512CB9826}" type="sibTrans" cxnId="{F88377E0-EEFD-4386-B559-0DD5E7864A2D}">
      <dgm:prSet/>
      <dgm:spPr/>
      <dgm:t>
        <a:bodyPr/>
        <a:lstStyle/>
        <a:p>
          <a:endParaRPr lang="en-US"/>
        </a:p>
      </dgm:t>
    </dgm:pt>
    <dgm:pt modelId="{9EC77914-FECC-4FA1-AE64-C25CB33F794A}">
      <dgm:prSet/>
      <dgm:spPr/>
      <dgm:t>
        <a:bodyPr/>
        <a:lstStyle/>
        <a:p>
          <a:r>
            <a:rPr lang="en-US" dirty="0"/>
            <a:t>GIS Data  Policy &amp; Standards (160/161 Series)</a:t>
          </a:r>
        </a:p>
      </dgm:t>
    </dgm:pt>
    <dgm:pt modelId="{6E66F2B3-411E-472B-9EB4-AD188DF0DB50}" type="parTrans" cxnId="{97E37C9E-3208-43F5-ACC5-E3F4380F6437}">
      <dgm:prSet/>
      <dgm:spPr/>
      <dgm:t>
        <a:bodyPr/>
        <a:lstStyle/>
        <a:p>
          <a:endParaRPr lang="en-US"/>
        </a:p>
      </dgm:t>
    </dgm:pt>
    <dgm:pt modelId="{6F4B5530-2C9E-4946-A775-15FB2A930C00}" type="sibTrans" cxnId="{97E37C9E-3208-43F5-ACC5-E3F4380F6437}">
      <dgm:prSet/>
      <dgm:spPr/>
      <dgm:t>
        <a:bodyPr/>
        <a:lstStyle/>
        <a:p>
          <a:endParaRPr lang="en-US"/>
        </a:p>
      </dgm:t>
    </dgm:pt>
    <dgm:pt modelId="{BB5F1E57-21B8-4D03-BFD7-8ACBED2BB0B0}">
      <dgm:prSet/>
      <dgm:spPr/>
      <dgm:t>
        <a:bodyPr/>
        <a:lstStyle/>
        <a:p>
          <a:r>
            <a:rPr lang="en-US" dirty="0"/>
            <a:t> Non-GIS Data standards (Standards 187.1 - Metadata Standard, 182.10.10 - Enterprise Data Standard Framework &amp; 182.10.20 - Data Registry plus develop overall strategy)</a:t>
          </a:r>
        </a:p>
      </dgm:t>
    </dgm:pt>
    <dgm:pt modelId="{085529E4-2484-4625-B316-922677E85BBD}" type="parTrans" cxnId="{E18E6F00-ACB2-4CE8-BFF5-AC85EF3EFB6C}">
      <dgm:prSet/>
      <dgm:spPr/>
      <dgm:t>
        <a:bodyPr/>
        <a:lstStyle/>
        <a:p>
          <a:endParaRPr lang="en-US"/>
        </a:p>
      </dgm:t>
    </dgm:pt>
    <dgm:pt modelId="{C253E744-FB61-44C4-8324-C15A037CC828}" type="sibTrans" cxnId="{E18E6F00-ACB2-4CE8-BFF5-AC85EF3EFB6C}">
      <dgm:prSet/>
      <dgm:spPr/>
      <dgm:t>
        <a:bodyPr/>
        <a:lstStyle/>
        <a:p>
          <a:endParaRPr lang="en-US"/>
        </a:p>
      </dgm:t>
    </dgm:pt>
    <dgm:pt modelId="{B3C55DC1-4920-4D28-9F7B-560E5540E2A6}">
      <dgm:prSet/>
      <dgm:spPr/>
      <dgm:t>
        <a:bodyPr/>
        <a:lstStyle/>
        <a:p>
          <a:r>
            <a:rPr lang="en-US" dirty="0"/>
            <a:t>PC Procurement Policy (Policy 201)</a:t>
          </a:r>
        </a:p>
      </dgm:t>
    </dgm:pt>
    <dgm:pt modelId="{A5C8E423-2F2B-4C40-92BB-C3FCF0F14FE0}" type="parTrans" cxnId="{AD14095C-4B6F-419F-B514-72EEBCDBA537}">
      <dgm:prSet/>
      <dgm:spPr/>
      <dgm:t>
        <a:bodyPr/>
        <a:lstStyle/>
        <a:p>
          <a:endParaRPr lang="en-US"/>
        </a:p>
      </dgm:t>
    </dgm:pt>
    <dgm:pt modelId="{FC3877DC-E27D-45FB-85BE-3301E7FFDDDA}" type="sibTrans" cxnId="{AD14095C-4B6F-419F-B514-72EEBCDBA537}">
      <dgm:prSet/>
      <dgm:spPr/>
      <dgm:t>
        <a:bodyPr/>
        <a:lstStyle/>
        <a:p>
          <a:endParaRPr lang="en-US"/>
        </a:p>
      </dgm:t>
    </dgm:pt>
    <dgm:pt modelId="{01A2CAF4-B78E-42F8-9E03-32A70A4DD0AD}">
      <dgm:prSet/>
      <dgm:spPr/>
      <dgm:t>
        <a:bodyPr/>
        <a:lstStyle/>
        <a:p>
          <a:r>
            <a:rPr lang="en-US" dirty="0"/>
            <a:t>Innovation Policy (Policy 202)</a:t>
          </a:r>
        </a:p>
      </dgm:t>
    </dgm:pt>
    <dgm:pt modelId="{770692CA-6A84-462F-8392-52C7DD91E9B0}" type="parTrans" cxnId="{01E337C1-F07B-436B-83C4-0D82D29A02B2}">
      <dgm:prSet/>
      <dgm:spPr/>
      <dgm:t>
        <a:bodyPr/>
        <a:lstStyle/>
        <a:p>
          <a:endParaRPr lang="en-US"/>
        </a:p>
      </dgm:t>
    </dgm:pt>
    <dgm:pt modelId="{2FAFF996-CD56-41DB-A519-3ECA13BEDA25}" type="sibTrans" cxnId="{01E337C1-F07B-436B-83C4-0D82D29A02B2}">
      <dgm:prSet/>
      <dgm:spPr/>
      <dgm:t>
        <a:bodyPr/>
        <a:lstStyle/>
        <a:p>
          <a:endParaRPr lang="en-US"/>
        </a:p>
      </dgm:t>
    </dgm:pt>
    <dgm:pt modelId="{208ADBD7-1B95-4A0A-871F-43BD1BAEDE42}">
      <dgm:prSet/>
      <dgm:spPr/>
      <dgm:t>
        <a:bodyPr/>
        <a:lstStyle/>
        <a:p>
          <a:r>
            <a:rPr lang="en-US" dirty="0"/>
            <a:t>Domain Naming Standard (Standard 171.10)</a:t>
          </a:r>
        </a:p>
      </dgm:t>
    </dgm:pt>
    <dgm:pt modelId="{41A297F6-AEA4-469A-9BAE-91874AD7E59C}" type="parTrans" cxnId="{F1E56086-05A7-45B7-96E4-C6A02A680AEE}">
      <dgm:prSet/>
      <dgm:spPr/>
      <dgm:t>
        <a:bodyPr/>
        <a:lstStyle/>
        <a:p>
          <a:endParaRPr lang="en-US"/>
        </a:p>
      </dgm:t>
    </dgm:pt>
    <dgm:pt modelId="{8CF8992D-0093-4B25-8957-14C7EF1B0BEE}" type="sibTrans" cxnId="{F1E56086-05A7-45B7-96E4-C6A02A680AEE}">
      <dgm:prSet/>
      <dgm:spPr/>
      <dgm:t>
        <a:bodyPr/>
        <a:lstStyle/>
        <a:p>
          <a:endParaRPr lang="en-US"/>
        </a:p>
      </dgm:t>
    </dgm:pt>
    <dgm:pt modelId="{055ADA0C-5082-4175-8039-D8D08098BE51}">
      <dgm:prSet/>
      <dgm:spPr/>
      <dgm:t>
        <a:bodyPr/>
        <a:lstStyle/>
        <a:p>
          <a:r>
            <a:rPr lang="en-US" dirty="0"/>
            <a:t>IT Security Policy (Policy 141)</a:t>
          </a:r>
        </a:p>
      </dgm:t>
    </dgm:pt>
    <dgm:pt modelId="{01156C33-787C-4AFD-BBCE-566BBD4F679A}" type="parTrans" cxnId="{B0284004-6153-42CC-88F0-E6627F01BF6D}">
      <dgm:prSet/>
      <dgm:spPr/>
      <dgm:t>
        <a:bodyPr/>
        <a:lstStyle/>
        <a:p>
          <a:endParaRPr lang="en-US"/>
        </a:p>
      </dgm:t>
    </dgm:pt>
    <dgm:pt modelId="{14C79604-5084-4BC3-B38B-247DBC5D0DE2}" type="sibTrans" cxnId="{B0284004-6153-42CC-88F0-E6627F01BF6D}">
      <dgm:prSet/>
      <dgm:spPr/>
      <dgm:t>
        <a:bodyPr/>
        <a:lstStyle/>
        <a:p>
          <a:endParaRPr lang="en-US"/>
        </a:p>
      </dgm:t>
    </dgm:pt>
    <dgm:pt modelId="{1187A1C6-FD39-4C53-BAEA-8F1A2ABCF7B7}">
      <dgm:prSet/>
      <dgm:spPr/>
      <dgm:t>
        <a:bodyPr/>
        <a:lstStyle/>
        <a:p>
          <a:r>
            <a:rPr lang="en-US" dirty="0"/>
            <a:t>Email naming standard (Standard 182.20.1)</a:t>
          </a:r>
        </a:p>
      </dgm:t>
    </dgm:pt>
    <dgm:pt modelId="{E96D97DA-2047-416F-9401-E3C9075BD483}" type="parTrans" cxnId="{78C35724-8936-41F1-B62F-A48F917539EA}">
      <dgm:prSet/>
      <dgm:spPr/>
      <dgm:t>
        <a:bodyPr/>
        <a:lstStyle/>
        <a:p>
          <a:endParaRPr lang="en-US"/>
        </a:p>
      </dgm:t>
    </dgm:pt>
    <dgm:pt modelId="{8D7392C7-C437-40A8-9412-A7FD70D5DC48}" type="sibTrans" cxnId="{78C35724-8936-41F1-B62F-A48F917539EA}">
      <dgm:prSet/>
      <dgm:spPr/>
      <dgm:t>
        <a:bodyPr/>
        <a:lstStyle/>
        <a:p>
          <a:endParaRPr lang="en-US"/>
        </a:p>
      </dgm:t>
    </dgm:pt>
    <dgm:pt modelId="{1422A635-26BA-4C60-835B-2050E1DFC54B}">
      <dgm:prSet/>
      <dgm:spPr/>
      <dgm:t>
        <a:bodyPr/>
        <a:lstStyle/>
        <a:p>
          <a:r>
            <a:rPr lang="en-US" dirty="0"/>
            <a:t>Identity Management (Standard 183.20.10)</a:t>
          </a:r>
        </a:p>
      </dgm:t>
    </dgm:pt>
    <dgm:pt modelId="{6744A23B-B588-476D-8FB9-DBBC3B2C6BD6}" type="parTrans" cxnId="{407A8B13-7A35-4A58-A6F2-57317ED8C050}">
      <dgm:prSet/>
      <dgm:spPr/>
      <dgm:t>
        <a:bodyPr/>
        <a:lstStyle/>
        <a:p>
          <a:endParaRPr lang="en-US"/>
        </a:p>
      </dgm:t>
    </dgm:pt>
    <dgm:pt modelId="{AD8DDB4D-1274-4B4D-9D14-EDA5EB55F386}" type="sibTrans" cxnId="{407A8B13-7A35-4A58-A6F2-57317ED8C050}">
      <dgm:prSet/>
      <dgm:spPr/>
      <dgm:t>
        <a:bodyPr/>
        <a:lstStyle/>
        <a:p>
          <a:endParaRPr lang="en-US"/>
        </a:p>
      </dgm:t>
    </dgm:pt>
    <dgm:pt modelId="{3286DE4E-289C-4760-838E-B6C774B58E24}">
      <dgm:prSet phldrT="[Text]"/>
      <dgm:spPr/>
      <dgm:t>
        <a:bodyPr/>
        <a:lstStyle/>
        <a:p>
          <a:r>
            <a:rPr lang="en-US" dirty="0"/>
            <a:t>Major Overhaul of Portfolio Management &amp; Strategic Planning (Policy 111, 112 &amp; 114)</a:t>
          </a:r>
        </a:p>
      </dgm:t>
    </dgm:pt>
    <dgm:pt modelId="{468621C7-0EA2-4AB8-85EB-15FBCD8A7C18}" type="parTrans" cxnId="{BC742B83-1186-461F-BD26-CD6302D99064}">
      <dgm:prSet/>
      <dgm:spPr/>
      <dgm:t>
        <a:bodyPr/>
        <a:lstStyle/>
        <a:p>
          <a:endParaRPr lang="en-US"/>
        </a:p>
      </dgm:t>
    </dgm:pt>
    <dgm:pt modelId="{AC401707-BB86-4575-93BB-768076A07832}" type="sibTrans" cxnId="{BC742B83-1186-461F-BD26-CD6302D99064}">
      <dgm:prSet/>
      <dgm:spPr/>
      <dgm:t>
        <a:bodyPr/>
        <a:lstStyle/>
        <a:p>
          <a:endParaRPr lang="en-US"/>
        </a:p>
      </dgm:t>
    </dgm:pt>
    <dgm:pt modelId="{89A2C6B4-4C42-4DEE-B4F0-11EDC471F1F4}">
      <dgm:prSet/>
      <dgm:spPr/>
      <dgm:t>
        <a:bodyPr/>
        <a:lstStyle/>
        <a:p>
          <a:r>
            <a:rPr lang="en-US" dirty="0"/>
            <a:t>Rewritten Policy 191 - Mobile Device Policy (tentative)</a:t>
          </a:r>
        </a:p>
      </dgm:t>
    </dgm:pt>
    <dgm:pt modelId="{AD334E20-EA58-4998-B6F2-F3CADFF953F0}" type="parTrans" cxnId="{B93ADF36-E780-4144-A88F-7D9439E2D80A}">
      <dgm:prSet/>
      <dgm:spPr/>
      <dgm:t>
        <a:bodyPr/>
        <a:lstStyle/>
        <a:p>
          <a:endParaRPr lang="en-US"/>
        </a:p>
      </dgm:t>
    </dgm:pt>
    <dgm:pt modelId="{D4B780BC-561F-499A-B5FB-99DE4D1797F9}" type="sibTrans" cxnId="{B93ADF36-E780-4144-A88F-7D9439E2D80A}">
      <dgm:prSet/>
      <dgm:spPr/>
      <dgm:t>
        <a:bodyPr/>
        <a:lstStyle/>
        <a:p>
          <a:endParaRPr lang="en-US"/>
        </a:p>
      </dgm:t>
    </dgm:pt>
    <dgm:pt modelId="{1FDC232E-7779-494E-B3A1-7959DB516D11}">
      <dgm:prSet/>
      <dgm:spPr/>
      <dgm:t>
        <a:bodyPr/>
        <a:lstStyle/>
        <a:p>
          <a:r>
            <a:rPr lang="en-US" dirty="0"/>
            <a:t>Minor Update to Policy 121 - Approval &amp; Oversight Policy</a:t>
          </a:r>
        </a:p>
      </dgm:t>
    </dgm:pt>
    <dgm:pt modelId="{ECDD14B3-CEFC-4EBD-A261-D6A76664EB48}" type="parTrans" cxnId="{370DE9A7-8E84-4AAC-84E8-EF8924FE4FB3}">
      <dgm:prSet/>
      <dgm:spPr/>
      <dgm:t>
        <a:bodyPr/>
        <a:lstStyle/>
        <a:p>
          <a:endParaRPr lang="en-US"/>
        </a:p>
      </dgm:t>
    </dgm:pt>
    <dgm:pt modelId="{0F889AE4-3253-4538-AA5E-2F9B00D0DB8F}" type="sibTrans" cxnId="{370DE9A7-8E84-4AAC-84E8-EF8924FE4FB3}">
      <dgm:prSet/>
      <dgm:spPr/>
      <dgm:t>
        <a:bodyPr/>
        <a:lstStyle/>
        <a:p>
          <a:endParaRPr lang="en-US"/>
        </a:p>
      </dgm:t>
    </dgm:pt>
    <dgm:pt modelId="{13BE8DA3-34D4-49D2-886A-32D58D53A6EF}">
      <dgm:prSet/>
      <dgm:spPr/>
      <dgm:t>
        <a:bodyPr/>
        <a:lstStyle/>
        <a:p>
          <a:r>
            <a:rPr lang="en-US" b="1" dirty="0"/>
            <a:t>Finalize &amp; Schedule for TSB Subcommittee</a:t>
          </a:r>
        </a:p>
      </dgm:t>
    </dgm:pt>
    <dgm:pt modelId="{AAAD7C89-48EE-47AC-A989-83CA607EDCD2}" type="parTrans" cxnId="{55C0E062-39D9-4DE4-B545-AEC6E4094257}">
      <dgm:prSet/>
      <dgm:spPr/>
      <dgm:t>
        <a:bodyPr/>
        <a:lstStyle/>
        <a:p>
          <a:endParaRPr lang="en-US"/>
        </a:p>
      </dgm:t>
    </dgm:pt>
    <dgm:pt modelId="{1BDB9738-6F25-4CF2-B066-C05ED9F6865C}" type="sibTrans" cxnId="{55C0E062-39D9-4DE4-B545-AEC6E4094257}">
      <dgm:prSet/>
      <dgm:spPr/>
      <dgm:t>
        <a:bodyPr/>
        <a:lstStyle/>
        <a:p>
          <a:endParaRPr lang="en-US"/>
        </a:p>
      </dgm:t>
    </dgm:pt>
    <dgm:pt modelId="{5AB34568-B70A-4377-8FB2-0098C6865D1D}" type="pres">
      <dgm:prSet presAssocID="{01D8F157-34A2-419B-9914-418B7D7E17D8}" presName="Name0" presStyleCnt="0">
        <dgm:presLayoutVars>
          <dgm:dir/>
          <dgm:animLvl val="lvl"/>
          <dgm:resizeHandles val="exact"/>
        </dgm:presLayoutVars>
      </dgm:prSet>
      <dgm:spPr/>
      <dgm:t>
        <a:bodyPr/>
        <a:lstStyle/>
        <a:p>
          <a:endParaRPr lang="en-US"/>
        </a:p>
      </dgm:t>
    </dgm:pt>
    <dgm:pt modelId="{42556780-1CB0-455E-8964-CC2DC4CF2E1A}" type="pres">
      <dgm:prSet presAssocID="{B4CE1F39-9746-4C1D-AE75-40B5FCFADEB1}" presName="composite" presStyleCnt="0"/>
      <dgm:spPr/>
    </dgm:pt>
    <dgm:pt modelId="{71139715-610E-4C59-9D2D-9C54AA8D2330}" type="pres">
      <dgm:prSet presAssocID="{B4CE1F39-9746-4C1D-AE75-40B5FCFADEB1}" presName="parTx" presStyleLbl="alignNode1" presStyleIdx="0" presStyleCnt="3">
        <dgm:presLayoutVars>
          <dgm:chMax val="0"/>
          <dgm:chPref val="0"/>
          <dgm:bulletEnabled val="1"/>
        </dgm:presLayoutVars>
      </dgm:prSet>
      <dgm:spPr/>
      <dgm:t>
        <a:bodyPr/>
        <a:lstStyle/>
        <a:p>
          <a:endParaRPr lang="en-US"/>
        </a:p>
      </dgm:t>
    </dgm:pt>
    <dgm:pt modelId="{9C73A940-38A5-4BE3-8F87-DD37EBFC1F9C}" type="pres">
      <dgm:prSet presAssocID="{B4CE1F39-9746-4C1D-AE75-40B5FCFADEB1}" presName="desTx" presStyleLbl="alignAccFollowNode1" presStyleIdx="0" presStyleCnt="3">
        <dgm:presLayoutVars>
          <dgm:bulletEnabled val="1"/>
        </dgm:presLayoutVars>
      </dgm:prSet>
      <dgm:spPr/>
      <dgm:t>
        <a:bodyPr/>
        <a:lstStyle/>
        <a:p>
          <a:endParaRPr lang="en-US"/>
        </a:p>
      </dgm:t>
    </dgm:pt>
    <dgm:pt modelId="{645FF3AB-FF35-4A68-A2C7-48A71AB0BD6C}" type="pres">
      <dgm:prSet presAssocID="{F39C713E-33D4-4681-8749-3EA154EA84DE}" presName="space" presStyleCnt="0"/>
      <dgm:spPr/>
    </dgm:pt>
    <dgm:pt modelId="{ADC24D68-F4ED-41A2-921F-0008F3AD77D8}" type="pres">
      <dgm:prSet presAssocID="{D3CA7A9D-0C68-4A7A-BEB3-EDB71060A50F}" presName="composite" presStyleCnt="0"/>
      <dgm:spPr/>
    </dgm:pt>
    <dgm:pt modelId="{90E93331-B66E-4D50-8632-F54BFA722E48}" type="pres">
      <dgm:prSet presAssocID="{D3CA7A9D-0C68-4A7A-BEB3-EDB71060A50F}" presName="parTx" presStyleLbl="alignNode1" presStyleIdx="1" presStyleCnt="3">
        <dgm:presLayoutVars>
          <dgm:chMax val="0"/>
          <dgm:chPref val="0"/>
          <dgm:bulletEnabled val="1"/>
        </dgm:presLayoutVars>
      </dgm:prSet>
      <dgm:spPr/>
      <dgm:t>
        <a:bodyPr/>
        <a:lstStyle/>
        <a:p>
          <a:endParaRPr lang="en-US"/>
        </a:p>
      </dgm:t>
    </dgm:pt>
    <dgm:pt modelId="{151053C9-398E-4369-A2C7-2AE9561BE193}" type="pres">
      <dgm:prSet presAssocID="{D3CA7A9D-0C68-4A7A-BEB3-EDB71060A50F}" presName="desTx" presStyleLbl="alignAccFollowNode1" presStyleIdx="1" presStyleCnt="3">
        <dgm:presLayoutVars>
          <dgm:bulletEnabled val="1"/>
        </dgm:presLayoutVars>
      </dgm:prSet>
      <dgm:spPr/>
      <dgm:t>
        <a:bodyPr/>
        <a:lstStyle/>
        <a:p>
          <a:endParaRPr lang="en-US"/>
        </a:p>
      </dgm:t>
    </dgm:pt>
    <dgm:pt modelId="{2F2A2835-866C-47EB-87F6-EF3D6D681349}" type="pres">
      <dgm:prSet presAssocID="{F224AA52-CE9E-4335-94AD-08C10428DD75}" presName="space" presStyleCnt="0"/>
      <dgm:spPr/>
    </dgm:pt>
    <dgm:pt modelId="{38844375-4936-42F4-B90A-488450DB7492}" type="pres">
      <dgm:prSet presAssocID="{4BCF5544-9F71-4B71-AEAC-74245614D7F3}" presName="composite" presStyleCnt="0"/>
      <dgm:spPr/>
    </dgm:pt>
    <dgm:pt modelId="{DA7BEEA5-3E6E-4A20-A26D-288AB7291405}" type="pres">
      <dgm:prSet presAssocID="{4BCF5544-9F71-4B71-AEAC-74245614D7F3}" presName="parTx" presStyleLbl="alignNode1" presStyleIdx="2" presStyleCnt="3">
        <dgm:presLayoutVars>
          <dgm:chMax val="0"/>
          <dgm:chPref val="0"/>
          <dgm:bulletEnabled val="1"/>
        </dgm:presLayoutVars>
      </dgm:prSet>
      <dgm:spPr/>
      <dgm:t>
        <a:bodyPr/>
        <a:lstStyle/>
        <a:p>
          <a:endParaRPr lang="en-US"/>
        </a:p>
      </dgm:t>
    </dgm:pt>
    <dgm:pt modelId="{70DA78C2-3A59-4AA3-B92B-84706EC8DACA}" type="pres">
      <dgm:prSet presAssocID="{4BCF5544-9F71-4B71-AEAC-74245614D7F3}" presName="desTx" presStyleLbl="alignAccFollowNode1" presStyleIdx="2" presStyleCnt="3">
        <dgm:presLayoutVars>
          <dgm:bulletEnabled val="1"/>
        </dgm:presLayoutVars>
      </dgm:prSet>
      <dgm:spPr/>
      <dgm:t>
        <a:bodyPr/>
        <a:lstStyle/>
        <a:p>
          <a:endParaRPr lang="en-US"/>
        </a:p>
      </dgm:t>
    </dgm:pt>
  </dgm:ptLst>
  <dgm:cxnLst>
    <dgm:cxn modelId="{B0284004-6153-42CC-88F0-E6627F01BF6D}" srcId="{4BCF5544-9F71-4B71-AEAC-74245614D7F3}" destId="{055ADA0C-5082-4175-8039-D8D08098BE51}" srcOrd="5" destOrd="0" parTransId="{01156C33-787C-4AFD-BBCE-566BBD4F679A}" sibTransId="{14C79604-5084-4BC3-B38B-247DBC5D0DE2}"/>
    <dgm:cxn modelId="{758C6F69-DFA3-49D2-9D67-28CBE76D5F65}" type="presOf" srcId="{59BA67C7-FB9C-43D9-ABB7-237064A2DBDD}" destId="{70DA78C2-3A59-4AA3-B92B-84706EC8DACA}" srcOrd="0" destOrd="4" presId="urn:microsoft.com/office/officeart/2005/8/layout/hList1"/>
    <dgm:cxn modelId="{AD14095C-4B6F-419F-B514-72EEBCDBA537}" srcId="{4BCF5544-9F71-4B71-AEAC-74245614D7F3}" destId="{B3C55DC1-4920-4D28-9F7B-560E5540E2A6}" srcOrd="12" destOrd="0" parTransId="{A5C8E423-2F2B-4C40-92BB-C3FCF0F14FE0}" sibTransId="{FC3877DC-E27D-45FB-85BE-3301E7FFDDDA}"/>
    <dgm:cxn modelId="{F4E720F0-DF55-4035-A24C-7FBE01CF2DDD}" type="presOf" srcId="{1FDC232E-7779-494E-B3A1-7959DB516D11}" destId="{151053C9-398E-4369-A2C7-2AE9561BE193}" srcOrd="0" destOrd="2" presId="urn:microsoft.com/office/officeart/2005/8/layout/hList1"/>
    <dgm:cxn modelId="{F88377E0-EEFD-4386-B559-0DD5E7864A2D}" srcId="{B4CE1F39-9746-4C1D-AE75-40B5FCFADEB1}" destId="{815D5078-9F8E-4BE3-ACF2-C30249B588FF}" srcOrd="1" destOrd="0" parTransId="{FE7C2FFB-CB0D-46F3-964E-CD64888D2174}" sibTransId="{85400797-7607-4D74-9490-E3B512CB9826}"/>
    <dgm:cxn modelId="{3F07A1CC-B259-4127-8F32-46DB7925EDC6}" srcId="{01D8F157-34A2-419B-9914-418B7D7E17D8}" destId="{4BCF5544-9F71-4B71-AEAC-74245614D7F3}" srcOrd="2" destOrd="0" parTransId="{2E37D371-8D1D-467D-A0C6-5A82EB6A6600}" sibTransId="{AF41D726-3E5B-4772-BC13-1C863BFDF265}"/>
    <dgm:cxn modelId="{ABB5AEC5-CB5C-4057-A9AA-2AB37EE50698}" type="presOf" srcId="{A72C1265-C79F-4ABB-8FE6-9C94D134BDE3}" destId="{70DA78C2-3A59-4AA3-B92B-84706EC8DACA}" srcOrd="0" destOrd="3" presId="urn:microsoft.com/office/officeart/2005/8/layout/hList1"/>
    <dgm:cxn modelId="{E4C5A1CE-DEE4-4ACF-AA5A-A9DBE2641DC1}" type="presOf" srcId="{13BE8DA3-34D4-49D2-886A-32D58D53A6EF}" destId="{151053C9-398E-4369-A2C7-2AE9561BE193}" srcOrd="0" destOrd="4" presId="urn:microsoft.com/office/officeart/2005/8/layout/hList1"/>
    <dgm:cxn modelId="{9F78C2B8-87AC-4006-891B-B81A17DC5F1D}" srcId="{B4CE1F39-9746-4C1D-AE75-40B5FCFADEB1}" destId="{D55B5ECF-990E-48D6-82B4-017FC3B72D4F}" srcOrd="2" destOrd="0" parTransId="{76EC6182-7E09-4047-99E7-3AAD1AFCCAA8}" sibTransId="{24CF50F1-7F34-4FD2-B46F-FB82BE9F45F9}"/>
    <dgm:cxn modelId="{41D8DCD9-3ED1-4361-BD8F-BA69CDA52685}" type="presOf" srcId="{9EC77914-FECC-4FA1-AE64-C25CB33F794A}" destId="{70DA78C2-3A59-4AA3-B92B-84706EC8DACA}" srcOrd="0" destOrd="6" presId="urn:microsoft.com/office/officeart/2005/8/layout/hList1"/>
    <dgm:cxn modelId="{72641169-9BA5-408B-ACAE-6AC61876F5A6}" srcId="{01D8F157-34A2-419B-9914-418B7D7E17D8}" destId="{D3CA7A9D-0C68-4A7A-BEB3-EDB71060A50F}" srcOrd="1" destOrd="0" parTransId="{3B9A9054-D418-4D11-A485-10102A1D2A39}" sibTransId="{F224AA52-CE9E-4335-94AD-08C10428DD75}"/>
    <dgm:cxn modelId="{78C35724-8936-41F1-B62F-A48F917539EA}" srcId="{4BCF5544-9F71-4B71-AEAC-74245614D7F3}" destId="{1187A1C6-FD39-4C53-BAEA-8F1A2ABCF7B7}" srcOrd="9" destOrd="0" parTransId="{E96D97DA-2047-416F-9401-E3C9075BD483}" sibTransId="{8D7392C7-C437-40A8-9412-A7FD70D5DC48}"/>
    <dgm:cxn modelId="{93CE52FC-B016-44F6-9FB5-3DD2DD9955C1}" srcId="{13BE8DA3-34D4-49D2-886A-32D58D53A6EF}" destId="{7C8D5C19-B876-4E1A-A8F2-744292EC4584}" srcOrd="0" destOrd="0" parTransId="{A8136EB3-00F4-4C65-8479-4471884BCF12}" sibTransId="{E7EA38EA-44FA-484B-9476-B96F81D4C714}"/>
    <dgm:cxn modelId="{F83567AF-1ADF-4C99-A16D-DFFF16A68C5F}" type="presOf" srcId="{AA891B1E-3BB1-4779-A58B-F21E80E13F46}" destId="{151053C9-398E-4369-A2C7-2AE9561BE193}" srcOrd="0" destOrd="6" presId="urn:microsoft.com/office/officeart/2005/8/layout/hList1"/>
    <dgm:cxn modelId="{D8F15540-CA1A-4AFE-99CF-67CA4521B0BC}" type="presOf" srcId="{B3C55DC1-4920-4D28-9F7B-560E5540E2A6}" destId="{70DA78C2-3A59-4AA3-B92B-84706EC8DACA}" srcOrd="0" destOrd="12" presId="urn:microsoft.com/office/officeart/2005/8/layout/hList1"/>
    <dgm:cxn modelId="{CDD92DFB-F21D-43E4-80FF-E6F6660C89F9}" type="presOf" srcId="{D55B5ECF-990E-48D6-82B4-017FC3B72D4F}" destId="{9C73A940-38A5-4BE3-8F87-DD37EBFC1F9C}" srcOrd="0" destOrd="2" presId="urn:microsoft.com/office/officeart/2005/8/layout/hList1"/>
    <dgm:cxn modelId="{1E2A78DE-A7EE-48CE-A86E-F92B1FD99982}" srcId="{01D8F157-34A2-419B-9914-418B7D7E17D8}" destId="{B4CE1F39-9746-4C1D-AE75-40B5FCFADEB1}" srcOrd="0" destOrd="0" parTransId="{434F6D88-671F-40E8-87F1-B696FAEBC7F0}" sibTransId="{F39C713E-33D4-4681-8749-3EA154EA84DE}"/>
    <dgm:cxn modelId="{B5C3F60A-0703-45BB-9717-D27CB5C39046}" type="presOf" srcId="{815D5078-9F8E-4BE3-ACF2-C30249B588FF}" destId="{9C73A940-38A5-4BE3-8F87-DD37EBFC1F9C}" srcOrd="0" destOrd="1" presId="urn:microsoft.com/office/officeart/2005/8/layout/hList1"/>
    <dgm:cxn modelId="{04839E1F-3EC9-487B-991C-E0F113CE3A01}" srcId="{B4CE1F39-9746-4C1D-AE75-40B5FCFADEB1}" destId="{337C0EDF-46C3-4D49-9299-0AC0E8EB6330}" srcOrd="0" destOrd="0" parTransId="{816435FB-02CA-49F9-B284-0F0E7935F256}" sibTransId="{32B250E4-58AB-401B-9E67-51B77274378E}"/>
    <dgm:cxn modelId="{A9FC03F1-B329-493B-96D5-18FD142ED382}" type="presOf" srcId="{1187A1C6-FD39-4C53-BAEA-8F1A2ABCF7B7}" destId="{70DA78C2-3A59-4AA3-B92B-84706EC8DACA}" srcOrd="0" destOrd="9" presId="urn:microsoft.com/office/officeart/2005/8/layout/hList1"/>
    <dgm:cxn modelId="{97E37C9E-3208-43F5-ACC5-E3F4380F6437}" srcId="{4BCF5544-9F71-4B71-AEAC-74245614D7F3}" destId="{9EC77914-FECC-4FA1-AE64-C25CB33F794A}" srcOrd="6" destOrd="0" parTransId="{6E66F2B3-411E-472B-9EB4-AD188DF0DB50}" sibTransId="{6F4B5530-2C9E-4946-A775-15FB2A930C00}"/>
    <dgm:cxn modelId="{EE29C318-FE4D-4E39-9B63-52090E9BDD03}" type="presOf" srcId="{055ADA0C-5082-4175-8039-D8D08098BE51}" destId="{70DA78C2-3A59-4AA3-B92B-84706EC8DACA}" srcOrd="0" destOrd="5" presId="urn:microsoft.com/office/officeart/2005/8/layout/hList1"/>
    <dgm:cxn modelId="{8B644C3E-64B9-41AC-9245-D4624191279C}" type="presOf" srcId="{208ADBD7-1B95-4A0A-871F-43BD1BAEDE42}" destId="{70DA78C2-3A59-4AA3-B92B-84706EC8DACA}" srcOrd="0" destOrd="7" presId="urn:microsoft.com/office/officeart/2005/8/layout/hList1"/>
    <dgm:cxn modelId="{4FD17D17-325B-4C2F-80C6-E7040455E23A}" type="presOf" srcId="{01D8F157-34A2-419B-9914-418B7D7E17D8}" destId="{5AB34568-B70A-4377-8FB2-0098C6865D1D}" srcOrd="0" destOrd="0" presId="urn:microsoft.com/office/officeart/2005/8/layout/hList1"/>
    <dgm:cxn modelId="{55C0E062-39D9-4DE4-B545-AEC6E4094257}" srcId="{D3CA7A9D-0C68-4A7A-BEB3-EDB71060A50F}" destId="{13BE8DA3-34D4-49D2-886A-32D58D53A6EF}" srcOrd="1" destOrd="0" parTransId="{AAAD7C89-48EE-47AC-A989-83CA607EDCD2}" sibTransId="{1BDB9738-6F25-4CF2-B066-C05ED9F6865C}"/>
    <dgm:cxn modelId="{DF99CF00-C7CC-4F01-9E11-C447142D7655}" type="presOf" srcId="{B4CE1F39-9746-4C1D-AE75-40B5FCFADEB1}" destId="{71139715-610E-4C59-9D2D-9C54AA8D2330}" srcOrd="0" destOrd="0" presId="urn:microsoft.com/office/officeart/2005/8/layout/hList1"/>
    <dgm:cxn modelId="{8EF4B0B7-2CF3-40B4-8453-440F59E96B00}" type="presOf" srcId="{91862423-41AF-4208-9CCE-E984FAEB3FDF}" destId="{70DA78C2-3A59-4AA3-B92B-84706EC8DACA}" srcOrd="0" destOrd="11" presId="urn:microsoft.com/office/officeart/2005/8/layout/hList1"/>
    <dgm:cxn modelId="{B7BD124A-FFBC-4291-9BE6-75945CACE851}" type="presOf" srcId="{337C0EDF-46C3-4D49-9299-0AC0E8EB6330}" destId="{9C73A940-38A5-4BE3-8F87-DD37EBFC1F9C}" srcOrd="0" destOrd="0" presId="urn:microsoft.com/office/officeart/2005/8/layout/hList1"/>
    <dgm:cxn modelId="{11BCA0E8-C944-4EDC-ACA4-7025301EC6EF}" type="presOf" srcId="{4BCF5544-9F71-4B71-AEAC-74245614D7F3}" destId="{DA7BEEA5-3E6E-4A20-A26D-288AB7291405}" srcOrd="0" destOrd="0" presId="urn:microsoft.com/office/officeart/2005/8/layout/hList1"/>
    <dgm:cxn modelId="{F1E56086-05A7-45B7-96E4-C6A02A680AEE}" srcId="{4BCF5544-9F71-4B71-AEAC-74245614D7F3}" destId="{208ADBD7-1B95-4A0A-871F-43BD1BAEDE42}" srcOrd="7" destOrd="0" parTransId="{41A297F6-AEA4-469A-9BAE-91874AD7E59C}" sibTransId="{8CF8992D-0093-4B25-8957-14C7EF1B0BEE}"/>
    <dgm:cxn modelId="{216FBCE8-C446-4541-A2CD-E0C2D5DDF638}" srcId="{4BCF5544-9F71-4B71-AEAC-74245614D7F3}" destId="{19557360-E949-476E-BFD2-32DBF6290515}" srcOrd="0" destOrd="0" parTransId="{CF17E862-9B17-4472-9F3D-6C4ACBEA9C09}" sibTransId="{F17FD13C-003F-45FD-83F0-01AA3D7932C7}"/>
    <dgm:cxn modelId="{2CF8D6CD-D0BC-4A56-BACA-BE6F17B5EB85}" type="presOf" srcId="{89A2C6B4-4C42-4DEE-B4F0-11EDC471F1F4}" destId="{151053C9-398E-4369-A2C7-2AE9561BE193}" srcOrd="0" destOrd="3" presId="urn:microsoft.com/office/officeart/2005/8/layout/hList1"/>
    <dgm:cxn modelId="{65EB47C6-1374-47DD-8E60-CB1F0C3A1450}" srcId="{1E886231-A17E-4D89-84DE-2C6F2A117EC9}" destId="{0FB782BB-9A88-4905-BF9F-93EEE07F8326}" srcOrd="0" destOrd="0" parTransId="{A5AA6DEF-0851-4607-A7CD-B42D64BD9C14}" sibTransId="{0C954601-E6C7-4F52-82ED-621AAED8EC0C}"/>
    <dgm:cxn modelId="{2EF046AB-FE35-4971-97DD-BC346AB40E2C}" type="presOf" srcId="{01A2CAF4-B78E-42F8-9E03-32A70A4DD0AD}" destId="{70DA78C2-3A59-4AA3-B92B-84706EC8DACA}" srcOrd="0" destOrd="13" presId="urn:microsoft.com/office/officeart/2005/8/layout/hList1"/>
    <dgm:cxn modelId="{B93ADF36-E780-4144-A88F-7D9439E2D80A}" srcId="{1E886231-A17E-4D89-84DE-2C6F2A117EC9}" destId="{89A2C6B4-4C42-4DEE-B4F0-11EDC471F1F4}" srcOrd="2" destOrd="0" parTransId="{AD334E20-EA58-4998-B6F2-F3CADFF953F0}" sibTransId="{D4B780BC-561F-499A-B5FB-99DE4D1797F9}"/>
    <dgm:cxn modelId="{17454B6A-4DD7-42C7-A383-8292A584A0BE}" srcId="{4BCF5544-9F71-4B71-AEAC-74245614D7F3}" destId="{47377C29-FDBC-47E6-8DF8-CA5AE316E9F4}" srcOrd="2" destOrd="0" parTransId="{2F763A80-8E85-42B8-B869-428A7B5466F5}" sibTransId="{37ABA58D-69A4-4B71-BF45-A948B0792E17}"/>
    <dgm:cxn modelId="{5486C18D-F424-4BCE-9CB7-E5716FDC30C3}" type="presOf" srcId="{D3CA7A9D-0C68-4A7A-BEB3-EDB71060A50F}" destId="{90E93331-B66E-4D50-8632-F54BFA722E48}" srcOrd="0" destOrd="0" presId="urn:microsoft.com/office/officeart/2005/8/layout/hList1"/>
    <dgm:cxn modelId="{F13E43E9-5608-4AC8-BD40-0667E33128D0}" type="presOf" srcId="{47377C29-FDBC-47E6-8DF8-CA5AE316E9F4}" destId="{70DA78C2-3A59-4AA3-B92B-84706EC8DACA}" srcOrd="0" destOrd="2" presId="urn:microsoft.com/office/officeart/2005/8/layout/hList1"/>
    <dgm:cxn modelId="{F1802757-42E0-4F34-9B12-226FF7BD2319}" type="presOf" srcId="{1422A635-26BA-4C60-835B-2050E1DFC54B}" destId="{70DA78C2-3A59-4AA3-B92B-84706EC8DACA}" srcOrd="0" destOrd="10" presId="urn:microsoft.com/office/officeart/2005/8/layout/hList1"/>
    <dgm:cxn modelId="{AB257806-7B62-4AE2-B3F0-634F60CD54D0}" srcId="{4BCF5544-9F71-4B71-AEAC-74245614D7F3}" destId="{59BA67C7-FB9C-43D9-ABB7-237064A2DBDD}" srcOrd="4" destOrd="0" parTransId="{5AF94CBD-40B9-4B92-8335-C366846223DA}" sibTransId="{C3643E0F-A3C1-4DB2-97A5-BF7E2E627120}"/>
    <dgm:cxn modelId="{E18E6F00-ACB2-4CE8-BFF5-AC85EF3EFB6C}" srcId="{4BCF5544-9F71-4B71-AEAC-74245614D7F3}" destId="{BB5F1E57-21B8-4D03-BFD7-8ACBED2BB0B0}" srcOrd="8" destOrd="0" parTransId="{085529E4-2484-4625-B316-922677E85BBD}" sibTransId="{C253E744-FB61-44C4-8324-C15A037CC828}"/>
    <dgm:cxn modelId="{87A6D80A-F5BA-43AB-B4DB-44E6806F7043}" srcId="{4BCF5544-9F71-4B71-AEAC-74245614D7F3}" destId="{91862423-41AF-4208-9CCE-E984FAEB3FDF}" srcOrd="11" destOrd="0" parTransId="{66083083-0E8F-4D19-879F-70C5EB2462A3}" sibTransId="{21D12A4F-DB4A-4273-8072-1829FE8430FD}"/>
    <dgm:cxn modelId="{B2878A5C-DDFB-4E4A-B9E6-635FE2E5BFB4}" type="presOf" srcId="{0FB782BB-9A88-4905-BF9F-93EEE07F8326}" destId="{151053C9-398E-4369-A2C7-2AE9561BE193}" srcOrd="0" destOrd="1" presId="urn:microsoft.com/office/officeart/2005/8/layout/hList1"/>
    <dgm:cxn modelId="{7D3574DC-ECE1-406F-93B2-01D2D420DBC8}" type="presOf" srcId="{19557360-E949-476E-BFD2-32DBF6290515}" destId="{70DA78C2-3A59-4AA3-B92B-84706EC8DACA}" srcOrd="0" destOrd="0" presId="urn:microsoft.com/office/officeart/2005/8/layout/hList1"/>
    <dgm:cxn modelId="{BC742B83-1186-461F-BD26-CD6302D99064}" srcId="{4BCF5544-9F71-4B71-AEAC-74245614D7F3}" destId="{3286DE4E-289C-4760-838E-B6C774B58E24}" srcOrd="1" destOrd="0" parTransId="{468621C7-0EA2-4AB8-85EB-15FBCD8A7C18}" sibTransId="{AC401707-BB86-4575-93BB-768076A07832}"/>
    <dgm:cxn modelId="{73515707-E2CB-42EE-AF88-F609CE3C2977}" type="presOf" srcId="{1E886231-A17E-4D89-84DE-2C6F2A117EC9}" destId="{151053C9-398E-4369-A2C7-2AE9561BE193}" srcOrd="0" destOrd="0" presId="urn:microsoft.com/office/officeart/2005/8/layout/hList1"/>
    <dgm:cxn modelId="{9BC81E08-C998-400E-A317-B722B0AA8712}" srcId="{13BE8DA3-34D4-49D2-886A-32D58D53A6EF}" destId="{AA891B1E-3BB1-4779-A58B-F21E80E13F46}" srcOrd="1" destOrd="0" parTransId="{A08B1C28-1EC4-402C-B3B7-61FDD229AA64}" sibTransId="{BCB6158D-D48D-4BC9-83E2-6357CBB2F630}"/>
    <dgm:cxn modelId="{05652563-B4FC-47A8-9DC3-4D2224FBA8AE}" srcId="{4BCF5544-9F71-4B71-AEAC-74245614D7F3}" destId="{A72C1265-C79F-4ABB-8FE6-9C94D134BDE3}" srcOrd="3" destOrd="0" parTransId="{BFD0CF69-1AC9-430F-A5D5-33ED98602045}" sibTransId="{120039CE-4521-41FA-BC6A-9F3DE2115210}"/>
    <dgm:cxn modelId="{01E337C1-F07B-436B-83C4-0D82D29A02B2}" srcId="{4BCF5544-9F71-4B71-AEAC-74245614D7F3}" destId="{01A2CAF4-B78E-42F8-9E03-32A70A4DD0AD}" srcOrd="13" destOrd="0" parTransId="{770692CA-6A84-462F-8392-52C7DD91E9B0}" sibTransId="{2FAFF996-CD56-41DB-A519-3ECA13BEDA25}"/>
    <dgm:cxn modelId="{370DE9A7-8E84-4AAC-84E8-EF8924FE4FB3}" srcId="{1E886231-A17E-4D89-84DE-2C6F2A117EC9}" destId="{1FDC232E-7779-494E-B3A1-7959DB516D11}" srcOrd="1" destOrd="0" parTransId="{ECDD14B3-CEFC-4EBD-A261-D6A76664EB48}" sibTransId="{0F889AE4-3253-4538-AA5E-2F9B00D0DB8F}"/>
    <dgm:cxn modelId="{407A8B13-7A35-4A58-A6F2-57317ED8C050}" srcId="{4BCF5544-9F71-4B71-AEAC-74245614D7F3}" destId="{1422A635-26BA-4C60-835B-2050E1DFC54B}" srcOrd="10" destOrd="0" parTransId="{6744A23B-B588-476D-8FB9-DBBC3B2C6BD6}" sibTransId="{AD8DDB4D-1274-4B4D-9D14-EDA5EB55F386}"/>
    <dgm:cxn modelId="{696C0E31-D71E-4B2C-9A2A-7FCED5EFF38A}" type="presOf" srcId="{3286DE4E-289C-4760-838E-B6C774B58E24}" destId="{70DA78C2-3A59-4AA3-B92B-84706EC8DACA}" srcOrd="0" destOrd="1" presId="urn:microsoft.com/office/officeart/2005/8/layout/hList1"/>
    <dgm:cxn modelId="{5F2843E2-7B3E-46C8-95DC-A1931167D399}" type="presOf" srcId="{7C8D5C19-B876-4E1A-A8F2-744292EC4584}" destId="{151053C9-398E-4369-A2C7-2AE9561BE193}" srcOrd="0" destOrd="5" presId="urn:microsoft.com/office/officeart/2005/8/layout/hList1"/>
    <dgm:cxn modelId="{384BB3F3-AF7C-4990-8803-9A021C358CE9}" type="presOf" srcId="{BB5F1E57-21B8-4D03-BFD7-8ACBED2BB0B0}" destId="{70DA78C2-3A59-4AA3-B92B-84706EC8DACA}" srcOrd="0" destOrd="8" presId="urn:microsoft.com/office/officeart/2005/8/layout/hList1"/>
    <dgm:cxn modelId="{94DF1067-FA74-4E3B-9D81-BB62843FCF65}" srcId="{D3CA7A9D-0C68-4A7A-BEB3-EDB71060A50F}" destId="{1E886231-A17E-4D89-84DE-2C6F2A117EC9}" srcOrd="0" destOrd="0" parTransId="{644DD1A9-CD9C-447B-82B4-7488F5A15CEF}" sibTransId="{D259DF6C-DADE-413F-A056-F7AA8C828132}"/>
    <dgm:cxn modelId="{E5D141E0-C186-4285-9A1A-16F2D0EE207A}" type="presParOf" srcId="{5AB34568-B70A-4377-8FB2-0098C6865D1D}" destId="{42556780-1CB0-455E-8964-CC2DC4CF2E1A}" srcOrd="0" destOrd="0" presId="urn:microsoft.com/office/officeart/2005/8/layout/hList1"/>
    <dgm:cxn modelId="{776190DD-D2CD-4D54-8821-275E84D5A26A}" type="presParOf" srcId="{42556780-1CB0-455E-8964-CC2DC4CF2E1A}" destId="{71139715-610E-4C59-9D2D-9C54AA8D2330}" srcOrd="0" destOrd="0" presId="urn:microsoft.com/office/officeart/2005/8/layout/hList1"/>
    <dgm:cxn modelId="{C66438FC-FCD0-4409-BE2A-DAAAB028878A}" type="presParOf" srcId="{42556780-1CB0-455E-8964-CC2DC4CF2E1A}" destId="{9C73A940-38A5-4BE3-8F87-DD37EBFC1F9C}" srcOrd="1" destOrd="0" presId="urn:microsoft.com/office/officeart/2005/8/layout/hList1"/>
    <dgm:cxn modelId="{CBBED990-A69F-4F29-824C-DA2C7CE070A9}" type="presParOf" srcId="{5AB34568-B70A-4377-8FB2-0098C6865D1D}" destId="{645FF3AB-FF35-4A68-A2C7-48A71AB0BD6C}" srcOrd="1" destOrd="0" presId="urn:microsoft.com/office/officeart/2005/8/layout/hList1"/>
    <dgm:cxn modelId="{238B1DAD-B201-4C87-A36D-8E81D1E268DB}" type="presParOf" srcId="{5AB34568-B70A-4377-8FB2-0098C6865D1D}" destId="{ADC24D68-F4ED-41A2-921F-0008F3AD77D8}" srcOrd="2" destOrd="0" presId="urn:microsoft.com/office/officeart/2005/8/layout/hList1"/>
    <dgm:cxn modelId="{12CECF5B-8725-4340-B34F-B4E45DF15662}" type="presParOf" srcId="{ADC24D68-F4ED-41A2-921F-0008F3AD77D8}" destId="{90E93331-B66E-4D50-8632-F54BFA722E48}" srcOrd="0" destOrd="0" presId="urn:microsoft.com/office/officeart/2005/8/layout/hList1"/>
    <dgm:cxn modelId="{21C5DE03-ED98-4780-AAAC-A87F316D3515}" type="presParOf" srcId="{ADC24D68-F4ED-41A2-921F-0008F3AD77D8}" destId="{151053C9-398E-4369-A2C7-2AE9561BE193}" srcOrd="1" destOrd="0" presId="urn:microsoft.com/office/officeart/2005/8/layout/hList1"/>
    <dgm:cxn modelId="{BC9CADAD-99FD-4D16-BA52-EB4627F2453A}" type="presParOf" srcId="{5AB34568-B70A-4377-8FB2-0098C6865D1D}" destId="{2F2A2835-866C-47EB-87F6-EF3D6D681349}" srcOrd="3" destOrd="0" presId="urn:microsoft.com/office/officeart/2005/8/layout/hList1"/>
    <dgm:cxn modelId="{B44F94E4-4747-4A9A-9A58-82851A94EFDD}" type="presParOf" srcId="{5AB34568-B70A-4377-8FB2-0098C6865D1D}" destId="{38844375-4936-42F4-B90A-488450DB7492}" srcOrd="4" destOrd="0" presId="urn:microsoft.com/office/officeart/2005/8/layout/hList1"/>
    <dgm:cxn modelId="{73403AE5-DEC9-4034-B901-D614293F834A}" type="presParOf" srcId="{38844375-4936-42F4-B90A-488450DB7492}" destId="{DA7BEEA5-3E6E-4A20-A26D-288AB7291405}" srcOrd="0" destOrd="0" presId="urn:microsoft.com/office/officeart/2005/8/layout/hList1"/>
    <dgm:cxn modelId="{53D169C5-80AD-4EA6-A44B-DCD3A2AFBA0A}" type="presParOf" srcId="{38844375-4936-42F4-B90A-488450DB7492}" destId="{70DA78C2-3A59-4AA3-B92B-84706EC8DAC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6EAC58E-6300-4104-AF7C-15BC07FB5ACA}" type="doc">
      <dgm:prSet loTypeId="urn:microsoft.com/office/officeart/2005/8/layout/default" loCatId="list" qsTypeId="urn:microsoft.com/office/officeart/2005/8/quickstyle/simple1" qsCatId="simple" csTypeId="urn:microsoft.com/office/officeart/2005/8/colors/colorful5" csCatId="colorful" phldr="1"/>
      <dgm:spPr/>
      <dgm:t>
        <a:bodyPr/>
        <a:lstStyle/>
        <a:p>
          <a:endParaRPr lang="en-US"/>
        </a:p>
      </dgm:t>
    </dgm:pt>
    <dgm:pt modelId="{FEBCBC07-866D-49E6-9437-7CD07645F3A1}">
      <dgm:prSet phldrT="[Text]"/>
      <dgm:spPr/>
      <dgm:t>
        <a:bodyPr/>
        <a:lstStyle/>
        <a:p>
          <a:r>
            <a:rPr lang="en-US" dirty="0" smtClean="0"/>
            <a:t>Marijuana Traceability - Liquor &amp; Cannabis Board</a:t>
          </a:r>
        </a:p>
        <a:p>
          <a:r>
            <a:rPr lang="en-US" dirty="0" smtClean="0"/>
            <a:t>February 2018</a:t>
          </a:r>
          <a:endParaRPr lang="en-US" dirty="0"/>
        </a:p>
      </dgm:t>
    </dgm:pt>
    <dgm:pt modelId="{546BA1DB-BA6C-43A9-ADEA-3E0425B7FB1F}" type="parTrans" cxnId="{7B3DE379-7EB3-44B2-A19E-EE99EDDBE9DB}">
      <dgm:prSet/>
      <dgm:spPr/>
      <dgm:t>
        <a:bodyPr/>
        <a:lstStyle/>
        <a:p>
          <a:endParaRPr lang="en-US"/>
        </a:p>
      </dgm:t>
    </dgm:pt>
    <dgm:pt modelId="{72391933-E10F-453C-8F6A-E55ECC7C0056}" type="sibTrans" cxnId="{7B3DE379-7EB3-44B2-A19E-EE99EDDBE9DB}">
      <dgm:prSet/>
      <dgm:spPr/>
      <dgm:t>
        <a:bodyPr/>
        <a:lstStyle/>
        <a:p>
          <a:endParaRPr lang="en-US"/>
        </a:p>
      </dgm:t>
    </dgm:pt>
    <dgm:pt modelId="{1D0BEA05-1247-497A-BFD3-E57289671DDC}">
      <dgm:prSet phldrT="[Text]"/>
      <dgm:spPr/>
      <dgm:t>
        <a:bodyPr/>
        <a:lstStyle/>
        <a:p>
          <a:r>
            <a:rPr lang="en-US" dirty="0" smtClean="0"/>
            <a:t>Time &amp; Attendance – Dept. of Early Learning  March 2018</a:t>
          </a:r>
          <a:endParaRPr lang="en-US" dirty="0"/>
        </a:p>
      </dgm:t>
    </dgm:pt>
    <dgm:pt modelId="{255A3F39-65E8-44F5-8F1A-E5E79DF12F5C}" type="parTrans" cxnId="{86E34E54-61E5-49F8-9E9C-B5DF4F2C6A4E}">
      <dgm:prSet/>
      <dgm:spPr/>
      <dgm:t>
        <a:bodyPr/>
        <a:lstStyle/>
        <a:p>
          <a:endParaRPr lang="en-US"/>
        </a:p>
      </dgm:t>
    </dgm:pt>
    <dgm:pt modelId="{E452020C-A9F7-4239-93E5-0457A8F9BAC9}" type="sibTrans" cxnId="{86E34E54-61E5-49F8-9E9C-B5DF4F2C6A4E}">
      <dgm:prSet/>
      <dgm:spPr/>
      <dgm:t>
        <a:bodyPr/>
        <a:lstStyle/>
        <a:p>
          <a:endParaRPr lang="en-US"/>
        </a:p>
      </dgm:t>
    </dgm:pt>
    <dgm:pt modelId="{F8512C15-4B62-40B7-8B44-B1BFA188DD40}">
      <dgm:prSet phldrT="[Text]"/>
      <dgm:spPr/>
      <dgm:t>
        <a:bodyPr/>
        <a:lstStyle/>
        <a:p>
          <a:r>
            <a:rPr lang="en-US" dirty="0" smtClean="0"/>
            <a:t>Online Licensing &amp; Information Collection – Dept. of Health</a:t>
          </a:r>
        </a:p>
        <a:p>
          <a:r>
            <a:rPr lang="en-US" dirty="0" smtClean="0"/>
            <a:t>March 2018</a:t>
          </a:r>
          <a:endParaRPr lang="en-US" dirty="0"/>
        </a:p>
      </dgm:t>
    </dgm:pt>
    <dgm:pt modelId="{87D1C705-B329-4CAE-8358-718D9644F148}" type="parTrans" cxnId="{A505CEF0-FFEF-4ED9-9CBB-A504FB75AB01}">
      <dgm:prSet/>
      <dgm:spPr/>
      <dgm:t>
        <a:bodyPr/>
        <a:lstStyle/>
        <a:p>
          <a:endParaRPr lang="en-US"/>
        </a:p>
      </dgm:t>
    </dgm:pt>
    <dgm:pt modelId="{84C84746-B73D-4884-B641-1794C3591EF4}" type="sibTrans" cxnId="{A505CEF0-FFEF-4ED9-9CBB-A504FB75AB01}">
      <dgm:prSet/>
      <dgm:spPr/>
      <dgm:t>
        <a:bodyPr/>
        <a:lstStyle/>
        <a:p>
          <a:endParaRPr lang="en-US"/>
        </a:p>
      </dgm:t>
    </dgm:pt>
    <dgm:pt modelId="{77F9E9E3-2380-4141-B2E7-833219A4F2AF}">
      <dgm:prSet phldrT="[Text]"/>
      <dgm:spPr/>
      <dgm:t>
        <a:bodyPr/>
        <a:lstStyle/>
        <a:p>
          <a:r>
            <a:rPr lang="en-US" dirty="0" smtClean="0"/>
            <a:t>Tax &amp; Licensing Replacement, Phase 2 – Dept. of Revenue</a:t>
          </a:r>
        </a:p>
        <a:p>
          <a:r>
            <a:rPr lang="en-US" dirty="0" smtClean="0"/>
            <a:t>March 2018</a:t>
          </a:r>
          <a:endParaRPr lang="en-US" dirty="0"/>
        </a:p>
      </dgm:t>
    </dgm:pt>
    <dgm:pt modelId="{7BFA3EA4-A7CB-46E3-86D8-936AD0EBFC65}" type="parTrans" cxnId="{6CD07291-5CCD-4BD4-8183-25111DB78A27}">
      <dgm:prSet/>
      <dgm:spPr/>
      <dgm:t>
        <a:bodyPr/>
        <a:lstStyle/>
        <a:p>
          <a:endParaRPr lang="en-US"/>
        </a:p>
      </dgm:t>
    </dgm:pt>
    <dgm:pt modelId="{DF1F1C7F-6317-4884-BE58-C61B36B861CD}" type="sibTrans" cxnId="{6CD07291-5CCD-4BD4-8183-25111DB78A27}">
      <dgm:prSet/>
      <dgm:spPr/>
      <dgm:t>
        <a:bodyPr/>
        <a:lstStyle/>
        <a:p>
          <a:endParaRPr lang="en-US"/>
        </a:p>
      </dgm:t>
    </dgm:pt>
    <dgm:pt modelId="{63689930-9DD2-466A-B0BE-B5DB539AE96D}">
      <dgm:prSet phldrT="[Text]"/>
      <dgm:spPr/>
      <dgm:t>
        <a:bodyPr/>
        <a:lstStyle/>
        <a:p>
          <a:r>
            <a:rPr lang="en-US" dirty="0" smtClean="0"/>
            <a:t>College Savings Plan – Student Achievement Council</a:t>
          </a:r>
        </a:p>
        <a:p>
          <a:r>
            <a:rPr lang="en-US" dirty="0" smtClean="0"/>
            <a:t>April 2018</a:t>
          </a:r>
          <a:endParaRPr lang="en-US" dirty="0"/>
        </a:p>
      </dgm:t>
    </dgm:pt>
    <dgm:pt modelId="{3DBBC722-0921-4779-B12E-10EFB04B4BA0}" type="parTrans" cxnId="{68A51AFF-306F-4764-A852-E657A024F2C6}">
      <dgm:prSet/>
      <dgm:spPr/>
      <dgm:t>
        <a:bodyPr/>
        <a:lstStyle/>
        <a:p>
          <a:endParaRPr lang="en-US"/>
        </a:p>
      </dgm:t>
    </dgm:pt>
    <dgm:pt modelId="{8D057CB2-0B48-453A-8B60-3F2B1FE3CD5D}" type="sibTrans" cxnId="{68A51AFF-306F-4764-A852-E657A024F2C6}">
      <dgm:prSet/>
      <dgm:spPr/>
      <dgm:t>
        <a:bodyPr/>
        <a:lstStyle/>
        <a:p>
          <a:endParaRPr lang="en-US"/>
        </a:p>
      </dgm:t>
    </dgm:pt>
    <dgm:pt modelId="{1A223037-8B49-47B1-B209-FDCD54D97484}">
      <dgm:prSet phldrT="[Text]"/>
      <dgm:spPr/>
      <dgm:t>
        <a:bodyPr/>
        <a:lstStyle/>
        <a:p>
          <a:r>
            <a:rPr lang="en-US" dirty="0" smtClean="0"/>
            <a:t>Client Receivables System – Dept. of Social &amp; Health Services</a:t>
          </a:r>
        </a:p>
        <a:p>
          <a:r>
            <a:rPr lang="en-US" dirty="0" smtClean="0"/>
            <a:t>May 2018</a:t>
          </a:r>
          <a:endParaRPr lang="en-US" dirty="0"/>
        </a:p>
      </dgm:t>
    </dgm:pt>
    <dgm:pt modelId="{0FD8D18C-455E-4EBA-AAEA-6FBF6731F68B}" type="parTrans" cxnId="{65498561-B405-4D9D-A3E3-DBD3783AC396}">
      <dgm:prSet/>
      <dgm:spPr/>
      <dgm:t>
        <a:bodyPr/>
        <a:lstStyle/>
        <a:p>
          <a:endParaRPr lang="en-US"/>
        </a:p>
      </dgm:t>
    </dgm:pt>
    <dgm:pt modelId="{5F7CDC63-456B-4184-80EB-2FA1DAA0AB54}" type="sibTrans" cxnId="{65498561-B405-4D9D-A3E3-DBD3783AC396}">
      <dgm:prSet/>
      <dgm:spPr/>
      <dgm:t>
        <a:bodyPr/>
        <a:lstStyle/>
        <a:p>
          <a:endParaRPr lang="en-US"/>
        </a:p>
      </dgm:t>
    </dgm:pt>
    <dgm:pt modelId="{A6C29B60-7112-4BE7-B383-79C5C89C3AD4}">
      <dgm:prSet phldrT="[Text]"/>
      <dgm:spPr/>
      <dgm:t>
        <a:bodyPr/>
        <a:lstStyle/>
        <a:p>
          <a:r>
            <a:rPr lang="en-US" dirty="0" smtClean="0"/>
            <a:t>Next Generation 911 Emergency Services IP Network – Military Dept.</a:t>
          </a:r>
        </a:p>
        <a:p>
          <a:r>
            <a:rPr lang="en-US" dirty="0" smtClean="0"/>
            <a:t>May 2018</a:t>
          </a:r>
          <a:endParaRPr lang="en-US" dirty="0"/>
        </a:p>
      </dgm:t>
    </dgm:pt>
    <dgm:pt modelId="{870DD1B4-3CAD-4D01-A5BB-999CBB4648FB}" type="parTrans" cxnId="{1C0675B2-77A6-43F0-9CA8-C942B403C5D3}">
      <dgm:prSet/>
      <dgm:spPr/>
      <dgm:t>
        <a:bodyPr/>
        <a:lstStyle/>
        <a:p>
          <a:endParaRPr lang="en-US"/>
        </a:p>
      </dgm:t>
    </dgm:pt>
    <dgm:pt modelId="{18432D47-ACE4-4B7C-A0AB-868795F71994}" type="sibTrans" cxnId="{1C0675B2-77A6-43F0-9CA8-C942B403C5D3}">
      <dgm:prSet/>
      <dgm:spPr/>
      <dgm:t>
        <a:bodyPr/>
        <a:lstStyle/>
        <a:p>
          <a:endParaRPr lang="en-US"/>
        </a:p>
      </dgm:t>
    </dgm:pt>
    <dgm:pt modelId="{065FBA50-02D4-47FE-979B-BD8C5F13FA5F}">
      <dgm:prSet phldrT="[Text]"/>
      <dgm:spPr/>
      <dgm:t>
        <a:bodyPr/>
        <a:lstStyle/>
        <a:p>
          <a:r>
            <a:rPr lang="en-US" dirty="0" smtClean="0"/>
            <a:t>Sexual Assault Kit Tracking – WA State Patrol</a:t>
          </a:r>
        </a:p>
        <a:p>
          <a:r>
            <a:rPr lang="en-US" dirty="0" smtClean="0"/>
            <a:t>May 2018</a:t>
          </a:r>
          <a:endParaRPr lang="en-US" dirty="0"/>
        </a:p>
      </dgm:t>
    </dgm:pt>
    <dgm:pt modelId="{267D947D-D89E-4414-8C2D-62E631DA796E}" type="parTrans" cxnId="{AF41A8A3-BF31-4845-885A-111EAABF1E2E}">
      <dgm:prSet/>
      <dgm:spPr/>
      <dgm:t>
        <a:bodyPr/>
        <a:lstStyle/>
        <a:p>
          <a:endParaRPr lang="en-US"/>
        </a:p>
      </dgm:t>
    </dgm:pt>
    <dgm:pt modelId="{63748858-D4DA-4CBB-AA8E-A324AE81A522}" type="sibTrans" cxnId="{AF41A8A3-BF31-4845-885A-111EAABF1E2E}">
      <dgm:prSet/>
      <dgm:spPr/>
      <dgm:t>
        <a:bodyPr/>
        <a:lstStyle/>
        <a:p>
          <a:endParaRPr lang="en-US"/>
        </a:p>
      </dgm:t>
    </dgm:pt>
    <dgm:pt modelId="{FD60EECE-A183-4AA3-B086-B56058FB8191}" type="pres">
      <dgm:prSet presAssocID="{36EAC58E-6300-4104-AF7C-15BC07FB5ACA}" presName="diagram" presStyleCnt="0">
        <dgm:presLayoutVars>
          <dgm:dir/>
          <dgm:resizeHandles val="exact"/>
        </dgm:presLayoutVars>
      </dgm:prSet>
      <dgm:spPr/>
      <dgm:t>
        <a:bodyPr/>
        <a:lstStyle/>
        <a:p>
          <a:endParaRPr lang="en-US"/>
        </a:p>
      </dgm:t>
    </dgm:pt>
    <dgm:pt modelId="{803C58E2-B5A8-4C23-A33F-FB79C256E706}" type="pres">
      <dgm:prSet presAssocID="{FEBCBC07-866D-49E6-9437-7CD07645F3A1}" presName="node" presStyleLbl="node1" presStyleIdx="0" presStyleCnt="8">
        <dgm:presLayoutVars>
          <dgm:bulletEnabled val="1"/>
        </dgm:presLayoutVars>
      </dgm:prSet>
      <dgm:spPr/>
      <dgm:t>
        <a:bodyPr/>
        <a:lstStyle/>
        <a:p>
          <a:endParaRPr lang="en-US"/>
        </a:p>
      </dgm:t>
    </dgm:pt>
    <dgm:pt modelId="{41FB63CD-CE72-4EFF-9D79-91E5A7A37058}" type="pres">
      <dgm:prSet presAssocID="{72391933-E10F-453C-8F6A-E55ECC7C0056}" presName="sibTrans" presStyleCnt="0"/>
      <dgm:spPr/>
    </dgm:pt>
    <dgm:pt modelId="{9D0D84CC-644B-43A6-BD67-276CB54FDD76}" type="pres">
      <dgm:prSet presAssocID="{1D0BEA05-1247-497A-BFD3-E57289671DDC}" presName="node" presStyleLbl="node1" presStyleIdx="1" presStyleCnt="8">
        <dgm:presLayoutVars>
          <dgm:bulletEnabled val="1"/>
        </dgm:presLayoutVars>
      </dgm:prSet>
      <dgm:spPr/>
      <dgm:t>
        <a:bodyPr/>
        <a:lstStyle/>
        <a:p>
          <a:endParaRPr lang="en-US"/>
        </a:p>
      </dgm:t>
    </dgm:pt>
    <dgm:pt modelId="{CF1055D4-BEC3-4AEB-83BD-BE9FB31701EC}" type="pres">
      <dgm:prSet presAssocID="{E452020C-A9F7-4239-93E5-0457A8F9BAC9}" presName="sibTrans" presStyleCnt="0"/>
      <dgm:spPr/>
    </dgm:pt>
    <dgm:pt modelId="{770B4B10-9333-4DB9-B6A2-63F0575339D9}" type="pres">
      <dgm:prSet presAssocID="{F8512C15-4B62-40B7-8B44-B1BFA188DD40}" presName="node" presStyleLbl="node1" presStyleIdx="2" presStyleCnt="8">
        <dgm:presLayoutVars>
          <dgm:bulletEnabled val="1"/>
        </dgm:presLayoutVars>
      </dgm:prSet>
      <dgm:spPr/>
      <dgm:t>
        <a:bodyPr/>
        <a:lstStyle/>
        <a:p>
          <a:endParaRPr lang="en-US"/>
        </a:p>
      </dgm:t>
    </dgm:pt>
    <dgm:pt modelId="{4A2969B5-2264-4371-A010-A3AFEBB0A216}" type="pres">
      <dgm:prSet presAssocID="{84C84746-B73D-4884-B641-1794C3591EF4}" presName="sibTrans" presStyleCnt="0"/>
      <dgm:spPr/>
    </dgm:pt>
    <dgm:pt modelId="{5E36234C-D86C-42C5-BEFF-CF20C5D039C4}" type="pres">
      <dgm:prSet presAssocID="{77F9E9E3-2380-4141-B2E7-833219A4F2AF}" presName="node" presStyleLbl="node1" presStyleIdx="3" presStyleCnt="8">
        <dgm:presLayoutVars>
          <dgm:bulletEnabled val="1"/>
        </dgm:presLayoutVars>
      </dgm:prSet>
      <dgm:spPr/>
      <dgm:t>
        <a:bodyPr/>
        <a:lstStyle/>
        <a:p>
          <a:endParaRPr lang="en-US"/>
        </a:p>
      </dgm:t>
    </dgm:pt>
    <dgm:pt modelId="{CFA0E99C-178F-4DC3-913D-D338C62BF9B6}" type="pres">
      <dgm:prSet presAssocID="{DF1F1C7F-6317-4884-BE58-C61B36B861CD}" presName="sibTrans" presStyleCnt="0"/>
      <dgm:spPr/>
    </dgm:pt>
    <dgm:pt modelId="{3B9DCB9F-C138-478A-969C-D0EE97420E1C}" type="pres">
      <dgm:prSet presAssocID="{63689930-9DD2-466A-B0BE-B5DB539AE96D}" presName="node" presStyleLbl="node1" presStyleIdx="4" presStyleCnt="8">
        <dgm:presLayoutVars>
          <dgm:bulletEnabled val="1"/>
        </dgm:presLayoutVars>
      </dgm:prSet>
      <dgm:spPr/>
      <dgm:t>
        <a:bodyPr/>
        <a:lstStyle/>
        <a:p>
          <a:endParaRPr lang="en-US"/>
        </a:p>
      </dgm:t>
    </dgm:pt>
    <dgm:pt modelId="{3A37FC8C-847F-4960-B28B-66272A8301E7}" type="pres">
      <dgm:prSet presAssocID="{8D057CB2-0B48-453A-8B60-3F2B1FE3CD5D}" presName="sibTrans" presStyleCnt="0"/>
      <dgm:spPr/>
    </dgm:pt>
    <dgm:pt modelId="{2ACE31A3-2436-42B1-9418-C461F5AA0613}" type="pres">
      <dgm:prSet presAssocID="{1A223037-8B49-47B1-B209-FDCD54D97484}" presName="node" presStyleLbl="node1" presStyleIdx="5" presStyleCnt="8">
        <dgm:presLayoutVars>
          <dgm:bulletEnabled val="1"/>
        </dgm:presLayoutVars>
      </dgm:prSet>
      <dgm:spPr/>
      <dgm:t>
        <a:bodyPr/>
        <a:lstStyle/>
        <a:p>
          <a:endParaRPr lang="en-US"/>
        </a:p>
      </dgm:t>
    </dgm:pt>
    <dgm:pt modelId="{5A71A0A4-B2E6-4ACC-A6C3-E1E4219116D0}" type="pres">
      <dgm:prSet presAssocID="{5F7CDC63-456B-4184-80EB-2FA1DAA0AB54}" presName="sibTrans" presStyleCnt="0"/>
      <dgm:spPr/>
    </dgm:pt>
    <dgm:pt modelId="{D92B3A3E-7CC6-4DCB-B508-90460439E6CF}" type="pres">
      <dgm:prSet presAssocID="{A6C29B60-7112-4BE7-B383-79C5C89C3AD4}" presName="node" presStyleLbl="node1" presStyleIdx="6" presStyleCnt="8">
        <dgm:presLayoutVars>
          <dgm:bulletEnabled val="1"/>
        </dgm:presLayoutVars>
      </dgm:prSet>
      <dgm:spPr/>
      <dgm:t>
        <a:bodyPr/>
        <a:lstStyle/>
        <a:p>
          <a:endParaRPr lang="en-US"/>
        </a:p>
      </dgm:t>
    </dgm:pt>
    <dgm:pt modelId="{989DD5F7-B26E-4F56-B2A8-3B12F603B6B4}" type="pres">
      <dgm:prSet presAssocID="{18432D47-ACE4-4B7C-A0AB-868795F71994}" presName="sibTrans" presStyleCnt="0"/>
      <dgm:spPr/>
    </dgm:pt>
    <dgm:pt modelId="{D79E0A02-3E37-4637-A57C-686A550C3BBB}" type="pres">
      <dgm:prSet presAssocID="{065FBA50-02D4-47FE-979B-BD8C5F13FA5F}" presName="node" presStyleLbl="node1" presStyleIdx="7" presStyleCnt="8">
        <dgm:presLayoutVars>
          <dgm:bulletEnabled val="1"/>
        </dgm:presLayoutVars>
      </dgm:prSet>
      <dgm:spPr/>
      <dgm:t>
        <a:bodyPr/>
        <a:lstStyle/>
        <a:p>
          <a:endParaRPr lang="en-US"/>
        </a:p>
      </dgm:t>
    </dgm:pt>
  </dgm:ptLst>
  <dgm:cxnLst>
    <dgm:cxn modelId="{4E4474C6-1313-4F08-999D-AF809E958096}" type="presOf" srcId="{F8512C15-4B62-40B7-8B44-B1BFA188DD40}" destId="{770B4B10-9333-4DB9-B6A2-63F0575339D9}" srcOrd="0" destOrd="0" presId="urn:microsoft.com/office/officeart/2005/8/layout/default"/>
    <dgm:cxn modelId="{E63EF365-352F-445E-A3BA-63CD36EB676D}" type="presOf" srcId="{63689930-9DD2-466A-B0BE-B5DB539AE96D}" destId="{3B9DCB9F-C138-478A-969C-D0EE97420E1C}" srcOrd="0" destOrd="0" presId="urn:microsoft.com/office/officeart/2005/8/layout/default"/>
    <dgm:cxn modelId="{7B3DE379-7EB3-44B2-A19E-EE99EDDBE9DB}" srcId="{36EAC58E-6300-4104-AF7C-15BC07FB5ACA}" destId="{FEBCBC07-866D-49E6-9437-7CD07645F3A1}" srcOrd="0" destOrd="0" parTransId="{546BA1DB-BA6C-43A9-ADEA-3E0425B7FB1F}" sibTransId="{72391933-E10F-453C-8F6A-E55ECC7C0056}"/>
    <dgm:cxn modelId="{1C0675B2-77A6-43F0-9CA8-C942B403C5D3}" srcId="{36EAC58E-6300-4104-AF7C-15BC07FB5ACA}" destId="{A6C29B60-7112-4BE7-B383-79C5C89C3AD4}" srcOrd="6" destOrd="0" parTransId="{870DD1B4-3CAD-4D01-A5BB-999CBB4648FB}" sibTransId="{18432D47-ACE4-4B7C-A0AB-868795F71994}"/>
    <dgm:cxn modelId="{65498561-B405-4D9D-A3E3-DBD3783AC396}" srcId="{36EAC58E-6300-4104-AF7C-15BC07FB5ACA}" destId="{1A223037-8B49-47B1-B209-FDCD54D97484}" srcOrd="5" destOrd="0" parTransId="{0FD8D18C-455E-4EBA-AAEA-6FBF6731F68B}" sibTransId="{5F7CDC63-456B-4184-80EB-2FA1DAA0AB54}"/>
    <dgm:cxn modelId="{9E0E0138-5322-473C-97B3-1B4BCEB9C546}" type="presOf" srcId="{1A223037-8B49-47B1-B209-FDCD54D97484}" destId="{2ACE31A3-2436-42B1-9418-C461F5AA0613}" srcOrd="0" destOrd="0" presId="urn:microsoft.com/office/officeart/2005/8/layout/default"/>
    <dgm:cxn modelId="{296DF154-05AE-4E73-A6EC-715090789BCC}" type="presOf" srcId="{065FBA50-02D4-47FE-979B-BD8C5F13FA5F}" destId="{D79E0A02-3E37-4637-A57C-686A550C3BBB}" srcOrd="0" destOrd="0" presId="urn:microsoft.com/office/officeart/2005/8/layout/default"/>
    <dgm:cxn modelId="{6CD07291-5CCD-4BD4-8183-25111DB78A27}" srcId="{36EAC58E-6300-4104-AF7C-15BC07FB5ACA}" destId="{77F9E9E3-2380-4141-B2E7-833219A4F2AF}" srcOrd="3" destOrd="0" parTransId="{7BFA3EA4-A7CB-46E3-86D8-936AD0EBFC65}" sibTransId="{DF1F1C7F-6317-4884-BE58-C61B36B861CD}"/>
    <dgm:cxn modelId="{AF41A8A3-BF31-4845-885A-111EAABF1E2E}" srcId="{36EAC58E-6300-4104-AF7C-15BC07FB5ACA}" destId="{065FBA50-02D4-47FE-979B-BD8C5F13FA5F}" srcOrd="7" destOrd="0" parTransId="{267D947D-D89E-4414-8C2D-62E631DA796E}" sibTransId="{63748858-D4DA-4CBB-AA8E-A324AE81A522}"/>
    <dgm:cxn modelId="{86E34E54-61E5-49F8-9E9C-B5DF4F2C6A4E}" srcId="{36EAC58E-6300-4104-AF7C-15BC07FB5ACA}" destId="{1D0BEA05-1247-497A-BFD3-E57289671DDC}" srcOrd="1" destOrd="0" parTransId="{255A3F39-65E8-44F5-8F1A-E5E79DF12F5C}" sibTransId="{E452020C-A9F7-4239-93E5-0457A8F9BAC9}"/>
    <dgm:cxn modelId="{72C4B47B-0388-44FB-8865-6E7B000349A6}" type="presOf" srcId="{A6C29B60-7112-4BE7-B383-79C5C89C3AD4}" destId="{D92B3A3E-7CC6-4DCB-B508-90460439E6CF}" srcOrd="0" destOrd="0" presId="urn:microsoft.com/office/officeart/2005/8/layout/default"/>
    <dgm:cxn modelId="{A94A6325-C3ED-4F26-BE6B-9012C0745FBA}" type="presOf" srcId="{1D0BEA05-1247-497A-BFD3-E57289671DDC}" destId="{9D0D84CC-644B-43A6-BD67-276CB54FDD76}" srcOrd="0" destOrd="0" presId="urn:microsoft.com/office/officeart/2005/8/layout/default"/>
    <dgm:cxn modelId="{DAAEF391-7F93-4174-98FA-A15349E19ACD}" type="presOf" srcId="{77F9E9E3-2380-4141-B2E7-833219A4F2AF}" destId="{5E36234C-D86C-42C5-BEFF-CF20C5D039C4}" srcOrd="0" destOrd="0" presId="urn:microsoft.com/office/officeart/2005/8/layout/default"/>
    <dgm:cxn modelId="{68A51AFF-306F-4764-A852-E657A024F2C6}" srcId="{36EAC58E-6300-4104-AF7C-15BC07FB5ACA}" destId="{63689930-9DD2-466A-B0BE-B5DB539AE96D}" srcOrd="4" destOrd="0" parTransId="{3DBBC722-0921-4779-B12E-10EFB04B4BA0}" sibTransId="{8D057CB2-0B48-453A-8B60-3F2B1FE3CD5D}"/>
    <dgm:cxn modelId="{A505CEF0-FFEF-4ED9-9CBB-A504FB75AB01}" srcId="{36EAC58E-6300-4104-AF7C-15BC07FB5ACA}" destId="{F8512C15-4B62-40B7-8B44-B1BFA188DD40}" srcOrd="2" destOrd="0" parTransId="{87D1C705-B329-4CAE-8358-718D9644F148}" sibTransId="{84C84746-B73D-4884-B641-1794C3591EF4}"/>
    <dgm:cxn modelId="{89605D9E-A7F0-4CE6-A158-BFB8807E07BC}" type="presOf" srcId="{36EAC58E-6300-4104-AF7C-15BC07FB5ACA}" destId="{FD60EECE-A183-4AA3-B086-B56058FB8191}" srcOrd="0" destOrd="0" presId="urn:microsoft.com/office/officeart/2005/8/layout/default"/>
    <dgm:cxn modelId="{4E2962B0-81E4-4669-B483-71BA765C1EED}" type="presOf" srcId="{FEBCBC07-866D-49E6-9437-7CD07645F3A1}" destId="{803C58E2-B5A8-4C23-A33F-FB79C256E706}" srcOrd="0" destOrd="0" presId="urn:microsoft.com/office/officeart/2005/8/layout/default"/>
    <dgm:cxn modelId="{83A34BAD-55FA-401B-A67D-5FDD07B18ABA}" type="presParOf" srcId="{FD60EECE-A183-4AA3-B086-B56058FB8191}" destId="{803C58E2-B5A8-4C23-A33F-FB79C256E706}" srcOrd="0" destOrd="0" presId="urn:microsoft.com/office/officeart/2005/8/layout/default"/>
    <dgm:cxn modelId="{950A7866-4486-40AF-9EEE-B36381448390}" type="presParOf" srcId="{FD60EECE-A183-4AA3-B086-B56058FB8191}" destId="{41FB63CD-CE72-4EFF-9D79-91E5A7A37058}" srcOrd="1" destOrd="0" presId="urn:microsoft.com/office/officeart/2005/8/layout/default"/>
    <dgm:cxn modelId="{1B4A7A6F-1F10-45E4-ADC2-C7AAAAE4FBEC}" type="presParOf" srcId="{FD60EECE-A183-4AA3-B086-B56058FB8191}" destId="{9D0D84CC-644B-43A6-BD67-276CB54FDD76}" srcOrd="2" destOrd="0" presId="urn:microsoft.com/office/officeart/2005/8/layout/default"/>
    <dgm:cxn modelId="{3B9A2799-5A67-46BA-A6E8-E7AA72502935}" type="presParOf" srcId="{FD60EECE-A183-4AA3-B086-B56058FB8191}" destId="{CF1055D4-BEC3-4AEB-83BD-BE9FB31701EC}" srcOrd="3" destOrd="0" presId="urn:microsoft.com/office/officeart/2005/8/layout/default"/>
    <dgm:cxn modelId="{311A7100-CB0E-4ADA-9BFD-22C51E5BE7E7}" type="presParOf" srcId="{FD60EECE-A183-4AA3-B086-B56058FB8191}" destId="{770B4B10-9333-4DB9-B6A2-63F0575339D9}" srcOrd="4" destOrd="0" presId="urn:microsoft.com/office/officeart/2005/8/layout/default"/>
    <dgm:cxn modelId="{5E09EC1F-E138-4318-9782-CBB9231AAC4F}" type="presParOf" srcId="{FD60EECE-A183-4AA3-B086-B56058FB8191}" destId="{4A2969B5-2264-4371-A010-A3AFEBB0A216}" srcOrd="5" destOrd="0" presId="urn:microsoft.com/office/officeart/2005/8/layout/default"/>
    <dgm:cxn modelId="{54996929-B86D-4243-B5CC-8E2CACB87050}" type="presParOf" srcId="{FD60EECE-A183-4AA3-B086-B56058FB8191}" destId="{5E36234C-D86C-42C5-BEFF-CF20C5D039C4}" srcOrd="6" destOrd="0" presId="urn:microsoft.com/office/officeart/2005/8/layout/default"/>
    <dgm:cxn modelId="{F7A5A65F-D11A-47A0-87A8-253E44454BF7}" type="presParOf" srcId="{FD60EECE-A183-4AA3-B086-B56058FB8191}" destId="{CFA0E99C-178F-4DC3-913D-D338C62BF9B6}" srcOrd="7" destOrd="0" presId="urn:microsoft.com/office/officeart/2005/8/layout/default"/>
    <dgm:cxn modelId="{424222B3-8EC9-4250-BEE6-BCA6FAAB1C8A}" type="presParOf" srcId="{FD60EECE-A183-4AA3-B086-B56058FB8191}" destId="{3B9DCB9F-C138-478A-969C-D0EE97420E1C}" srcOrd="8" destOrd="0" presId="urn:microsoft.com/office/officeart/2005/8/layout/default"/>
    <dgm:cxn modelId="{DBFBB87D-AFDF-4113-A97A-CE463673879A}" type="presParOf" srcId="{FD60EECE-A183-4AA3-B086-B56058FB8191}" destId="{3A37FC8C-847F-4960-B28B-66272A8301E7}" srcOrd="9" destOrd="0" presId="urn:microsoft.com/office/officeart/2005/8/layout/default"/>
    <dgm:cxn modelId="{D7716DE7-E3D4-408E-A52F-4F01018DEAE1}" type="presParOf" srcId="{FD60EECE-A183-4AA3-B086-B56058FB8191}" destId="{2ACE31A3-2436-42B1-9418-C461F5AA0613}" srcOrd="10" destOrd="0" presId="urn:microsoft.com/office/officeart/2005/8/layout/default"/>
    <dgm:cxn modelId="{E9B23C7F-A7A3-40B7-97FD-8EF10704C6AD}" type="presParOf" srcId="{FD60EECE-A183-4AA3-B086-B56058FB8191}" destId="{5A71A0A4-B2E6-4ACC-A6C3-E1E4219116D0}" srcOrd="11" destOrd="0" presId="urn:microsoft.com/office/officeart/2005/8/layout/default"/>
    <dgm:cxn modelId="{797618D6-B947-4FF3-9FC5-87D6B3D8F005}" type="presParOf" srcId="{FD60EECE-A183-4AA3-B086-B56058FB8191}" destId="{D92B3A3E-7CC6-4DCB-B508-90460439E6CF}" srcOrd="12" destOrd="0" presId="urn:microsoft.com/office/officeart/2005/8/layout/default"/>
    <dgm:cxn modelId="{CF9DFD81-9786-40BD-B194-A48CC7EE01AC}" type="presParOf" srcId="{FD60EECE-A183-4AA3-B086-B56058FB8191}" destId="{989DD5F7-B26E-4F56-B2A8-3B12F603B6B4}" srcOrd="13" destOrd="0" presId="urn:microsoft.com/office/officeart/2005/8/layout/default"/>
    <dgm:cxn modelId="{BDAA3F5E-ADB5-4CCA-BE6F-7D8402F8A8C5}" type="presParOf" srcId="{FD60EECE-A183-4AA3-B086-B56058FB8191}" destId="{D79E0A02-3E37-4637-A57C-686A550C3BBB}"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AC83B7-FD94-42AD-BA89-480787CCCAB8}">
      <dsp:nvSpPr>
        <dsp:cNvPr id="0" name=""/>
        <dsp:cNvSpPr/>
      </dsp:nvSpPr>
      <dsp:spPr>
        <a:xfrm>
          <a:off x="129792" y="0"/>
          <a:ext cx="9142536" cy="5714085"/>
        </a:xfrm>
        <a:prstGeom prst="swooshArrow">
          <a:avLst>
            <a:gd name="adj1" fmla="val 25000"/>
            <a:gd name="adj2" fmla="val 25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D83DCF7-7E15-4D3D-8F11-5AC90DD66F16}">
      <dsp:nvSpPr>
        <dsp:cNvPr id="0" name=""/>
        <dsp:cNvSpPr/>
      </dsp:nvSpPr>
      <dsp:spPr>
        <a:xfrm>
          <a:off x="1030331" y="4248993"/>
          <a:ext cx="210278" cy="210278"/>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63FCFD-42F8-4210-BEF1-1E33DAA55592}">
      <dsp:nvSpPr>
        <dsp:cNvPr id="0" name=""/>
        <dsp:cNvSpPr/>
      </dsp:nvSpPr>
      <dsp:spPr>
        <a:xfrm>
          <a:off x="1135470" y="4354132"/>
          <a:ext cx="1197672" cy="13599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1422" tIns="0" rIns="0" bIns="0" numCol="1" spcCol="1270" anchor="t" anchorCtr="0">
          <a:noAutofit/>
        </a:bodyPr>
        <a:lstStyle/>
        <a:p>
          <a:pPr lvl="0" algn="l" defTabSz="1022350">
            <a:lnSpc>
              <a:spcPct val="90000"/>
            </a:lnSpc>
            <a:spcBef>
              <a:spcPct val="0"/>
            </a:spcBef>
            <a:spcAft>
              <a:spcPct val="35000"/>
            </a:spcAft>
          </a:pPr>
          <a:r>
            <a:rPr lang="en-US" sz="2300" kern="1200" dirty="0" smtClean="0"/>
            <a:t>Establish Criteria</a:t>
          </a:r>
        </a:p>
        <a:p>
          <a:pPr lvl="0" algn="l" defTabSz="1022350">
            <a:lnSpc>
              <a:spcPct val="90000"/>
            </a:lnSpc>
            <a:spcBef>
              <a:spcPct val="0"/>
            </a:spcBef>
            <a:spcAft>
              <a:spcPct val="35000"/>
            </a:spcAft>
          </a:pPr>
          <a:r>
            <a:rPr lang="en-US" sz="2300" kern="1200" dirty="0" smtClean="0"/>
            <a:t> March</a:t>
          </a:r>
          <a:endParaRPr lang="en-US" sz="2300" kern="1200" dirty="0"/>
        </a:p>
      </dsp:txBody>
      <dsp:txXfrm>
        <a:off x="1135470" y="4354132"/>
        <a:ext cx="1197672" cy="1359952"/>
      </dsp:txXfrm>
    </dsp:sp>
    <dsp:sp modelId="{2A20100A-464E-4F76-86AC-4C979D7F7709}">
      <dsp:nvSpPr>
        <dsp:cNvPr id="0" name=""/>
        <dsp:cNvSpPr/>
      </dsp:nvSpPr>
      <dsp:spPr>
        <a:xfrm>
          <a:off x="2168577" y="3155317"/>
          <a:ext cx="329131" cy="329131"/>
        </a:xfrm>
        <a:prstGeom prst="ellipse">
          <a:avLst/>
        </a:prstGeom>
        <a:solidFill>
          <a:schemeClr val="accent5">
            <a:hueOff val="-1838336"/>
            <a:satOff val="-2557"/>
            <a:lumOff val="-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39B67C-1C6D-4BFC-8744-F659E4E16968}">
      <dsp:nvSpPr>
        <dsp:cNvPr id="0" name=""/>
        <dsp:cNvSpPr/>
      </dsp:nvSpPr>
      <dsp:spPr>
        <a:xfrm>
          <a:off x="2333143" y="3319883"/>
          <a:ext cx="1517660" cy="23942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4400" tIns="0" rIns="0" bIns="0" numCol="1" spcCol="1270" anchor="t" anchorCtr="0">
          <a:noAutofit/>
        </a:bodyPr>
        <a:lstStyle/>
        <a:p>
          <a:pPr lvl="0" algn="l" defTabSz="1022350">
            <a:lnSpc>
              <a:spcPct val="90000"/>
            </a:lnSpc>
            <a:spcBef>
              <a:spcPct val="0"/>
            </a:spcBef>
            <a:spcAft>
              <a:spcPct val="35000"/>
            </a:spcAft>
          </a:pPr>
          <a:r>
            <a:rPr lang="en-US" sz="2300" kern="1200" dirty="0" smtClean="0"/>
            <a:t>Weight Criteria</a:t>
          </a:r>
        </a:p>
        <a:p>
          <a:pPr lvl="0" algn="l" defTabSz="1022350">
            <a:lnSpc>
              <a:spcPct val="90000"/>
            </a:lnSpc>
            <a:spcBef>
              <a:spcPct val="0"/>
            </a:spcBef>
            <a:spcAft>
              <a:spcPct val="35000"/>
            </a:spcAft>
          </a:pPr>
          <a:r>
            <a:rPr lang="en-US" sz="2300" kern="1200" dirty="0" smtClean="0"/>
            <a:t>April-June</a:t>
          </a:r>
          <a:endParaRPr lang="en-US" sz="2300" kern="1200" dirty="0"/>
        </a:p>
      </dsp:txBody>
      <dsp:txXfrm>
        <a:off x="2333143" y="3319883"/>
        <a:ext cx="1517660" cy="2394201"/>
      </dsp:txXfrm>
    </dsp:sp>
    <dsp:sp modelId="{63AEC9B2-AAF8-41E9-A5E3-18B4CA9DE8C6}">
      <dsp:nvSpPr>
        <dsp:cNvPr id="0" name=""/>
        <dsp:cNvSpPr/>
      </dsp:nvSpPr>
      <dsp:spPr>
        <a:xfrm>
          <a:off x="3631383" y="2283348"/>
          <a:ext cx="438841" cy="438841"/>
        </a:xfrm>
        <a:prstGeom prst="ellipse">
          <a:avLst/>
        </a:prstGeom>
        <a:solidFill>
          <a:schemeClr val="accent5">
            <a:hueOff val="-3676672"/>
            <a:satOff val="-5114"/>
            <a:lumOff val="-196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531552-EDFE-44EA-8A87-37DBF84F8836}">
      <dsp:nvSpPr>
        <dsp:cNvPr id="0" name=""/>
        <dsp:cNvSpPr/>
      </dsp:nvSpPr>
      <dsp:spPr>
        <a:xfrm>
          <a:off x="3850804" y="2502769"/>
          <a:ext cx="1764509" cy="32113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2533" tIns="0" rIns="0" bIns="0" numCol="1" spcCol="1270" anchor="t" anchorCtr="0">
          <a:noAutofit/>
        </a:bodyPr>
        <a:lstStyle/>
        <a:p>
          <a:pPr lvl="0" algn="l" defTabSz="1022350">
            <a:lnSpc>
              <a:spcPct val="90000"/>
            </a:lnSpc>
            <a:spcBef>
              <a:spcPct val="0"/>
            </a:spcBef>
            <a:spcAft>
              <a:spcPct val="35000"/>
            </a:spcAft>
          </a:pPr>
          <a:r>
            <a:rPr lang="en-US" sz="2300" kern="1200" dirty="0" smtClean="0"/>
            <a:t>Gather Decision Packages</a:t>
          </a:r>
        </a:p>
        <a:p>
          <a:pPr lvl="0" algn="l" defTabSz="1022350">
            <a:lnSpc>
              <a:spcPct val="90000"/>
            </a:lnSpc>
            <a:spcBef>
              <a:spcPct val="0"/>
            </a:spcBef>
            <a:spcAft>
              <a:spcPct val="35000"/>
            </a:spcAft>
          </a:pPr>
          <a:r>
            <a:rPr lang="en-US" sz="2300" kern="1200" dirty="0" smtClean="0"/>
            <a:t>July-September</a:t>
          </a:r>
          <a:endParaRPr lang="en-US" sz="2300" kern="1200" dirty="0"/>
        </a:p>
      </dsp:txBody>
      <dsp:txXfrm>
        <a:off x="3850804" y="2502769"/>
        <a:ext cx="1764509" cy="3211315"/>
      </dsp:txXfrm>
    </dsp:sp>
    <dsp:sp modelId="{93A3A3F5-BE25-4497-9AF2-E694833CD545}">
      <dsp:nvSpPr>
        <dsp:cNvPr id="0" name=""/>
        <dsp:cNvSpPr/>
      </dsp:nvSpPr>
      <dsp:spPr>
        <a:xfrm>
          <a:off x="5331894" y="1602229"/>
          <a:ext cx="566837" cy="566837"/>
        </a:xfrm>
        <a:prstGeom prst="ellipse">
          <a:avLst/>
        </a:prstGeom>
        <a:solidFill>
          <a:schemeClr val="accent5">
            <a:hueOff val="-5515009"/>
            <a:satOff val="-7671"/>
            <a:lumOff val="-29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FE8CF3-6436-4971-A0B4-50E7E914E609}">
      <dsp:nvSpPr>
        <dsp:cNvPr id="0" name=""/>
        <dsp:cNvSpPr/>
      </dsp:nvSpPr>
      <dsp:spPr>
        <a:xfrm>
          <a:off x="5615313" y="1885648"/>
          <a:ext cx="1828507" cy="38284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0355" tIns="0" rIns="0" bIns="0" numCol="1" spcCol="1270" anchor="t" anchorCtr="0">
          <a:noAutofit/>
        </a:bodyPr>
        <a:lstStyle/>
        <a:p>
          <a:pPr lvl="0" algn="l" defTabSz="1022350">
            <a:lnSpc>
              <a:spcPct val="90000"/>
            </a:lnSpc>
            <a:spcBef>
              <a:spcPct val="0"/>
            </a:spcBef>
            <a:spcAft>
              <a:spcPct val="35000"/>
            </a:spcAft>
          </a:pPr>
          <a:r>
            <a:rPr lang="en-US" sz="2300" kern="1200" dirty="0" smtClean="0"/>
            <a:t>Score Decision Packages</a:t>
          </a:r>
        </a:p>
        <a:p>
          <a:pPr lvl="0" algn="l" defTabSz="1022350">
            <a:lnSpc>
              <a:spcPct val="90000"/>
            </a:lnSpc>
            <a:spcBef>
              <a:spcPct val="0"/>
            </a:spcBef>
            <a:spcAft>
              <a:spcPct val="35000"/>
            </a:spcAft>
          </a:pPr>
          <a:r>
            <a:rPr lang="en-US" sz="2300" kern="1200" dirty="0" smtClean="0"/>
            <a:t>September-October</a:t>
          </a:r>
          <a:endParaRPr lang="en-US" sz="2300" kern="1200" dirty="0"/>
        </a:p>
      </dsp:txBody>
      <dsp:txXfrm>
        <a:off x="5615313" y="1885648"/>
        <a:ext cx="1828507" cy="3828436"/>
      </dsp:txXfrm>
    </dsp:sp>
    <dsp:sp modelId="{B0451D2E-4A87-4080-A759-49DD00AFD8D2}">
      <dsp:nvSpPr>
        <dsp:cNvPr id="0" name=""/>
        <dsp:cNvSpPr/>
      </dsp:nvSpPr>
      <dsp:spPr>
        <a:xfrm>
          <a:off x="7082690" y="1147388"/>
          <a:ext cx="722260" cy="722260"/>
        </a:xfrm>
        <a:prstGeom prst="ellipse">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7690F18-4BA1-4912-B368-C8E32EB0FF7E}">
      <dsp:nvSpPr>
        <dsp:cNvPr id="0" name=""/>
        <dsp:cNvSpPr/>
      </dsp:nvSpPr>
      <dsp:spPr>
        <a:xfrm>
          <a:off x="7443820" y="1508518"/>
          <a:ext cx="1828507" cy="42055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2711" tIns="0" rIns="0" bIns="0" numCol="1" spcCol="1270" anchor="t" anchorCtr="0">
          <a:noAutofit/>
        </a:bodyPr>
        <a:lstStyle/>
        <a:p>
          <a:pPr lvl="0" algn="l" defTabSz="1022350">
            <a:lnSpc>
              <a:spcPct val="90000"/>
            </a:lnSpc>
            <a:spcBef>
              <a:spcPct val="0"/>
            </a:spcBef>
            <a:spcAft>
              <a:spcPct val="35000"/>
            </a:spcAft>
          </a:pPr>
          <a:r>
            <a:rPr lang="en-US" sz="2300" kern="1200" dirty="0" smtClean="0"/>
            <a:t>Publish Ranked List</a:t>
          </a:r>
        </a:p>
        <a:p>
          <a:pPr lvl="0" algn="l" defTabSz="1022350">
            <a:lnSpc>
              <a:spcPct val="90000"/>
            </a:lnSpc>
            <a:spcBef>
              <a:spcPct val="0"/>
            </a:spcBef>
            <a:spcAft>
              <a:spcPct val="35000"/>
            </a:spcAft>
          </a:pPr>
          <a:r>
            <a:rPr lang="en-US" sz="2300" kern="1200" dirty="0" smtClean="0"/>
            <a:t>December</a:t>
          </a:r>
          <a:endParaRPr lang="en-US" sz="2300" kern="1200" dirty="0"/>
        </a:p>
      </dsp:txBody>
      <dsp:txXfrm>
        <a:off x="7443820" y="1508518"/>
        <a:ext cx="1828507" cy="42055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139715-610E-4C59-9D2D-9C54AA8D2330}">
      <dsp:nvSpPr>
        <dsp:cNvPr id="0" name=""/>
        <dsp:cNvSpPr/>
      </dsp:nvSpPr>
      <dsp:spPr>
        <a:xfrm>
          <a:off x="2437" y="23323"/>
          <a:ext cx="2376781" cy="415848"/>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a:t> TSB Subcommittee on 4/16 &amp; Full TSB on 6/12</a:t>
          </a:r>
        </a:p>
      </dsp:txBody>
      <dsp:txXfrm>
        <a:off x="2437" y="23323"/>
        <a:ext cx="2376781" cy="415848"/>
      </dsp:txXfrm>
    </dsp:sp>
    <dsp:sp modelId="{9C73A940-38A5-4BE3-8F87-DD37EBFC1F9C}">
      <dsp:nvSpPr>
        <dsp:cNvPr id="0" name=""/>
        <dsp:cNvSpPr/>
      </dsp:nvSpPr>
      <dsp:spPr>
        <a:xfrm>
          <a:off x="2437" y="439172"/>
          <a:ext cx="2376781" cy="4908574"/>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kern="1200" dirty="0"/>
            <a:t>Policy 103 - Waiver Requests (update &amp; sunset review)</a:t>
          </a:r>
        </a:p>
        <a:p>
          <a:pPr marL="57150" lvl="1" indent="-57150" algn="l" defTabSz="488950">
            <a:lnSpc>
              <a:spcPct val="90000"/>
            </a:lnSpc>
            <a:spcBef>
              <a:spcPct val="0"/>
            </a:spcBef>
            <a:spcAft>
              <a:spcPct val="15000"/>
            </a:spcAft>
            <a:buChar char="••"/>
          </a:pPr>
          <a:r>
            <a:rPr lang="en-US" sz="1100" kern="1200" dirty="0"/>
            <a:t>Policy 143 - IT Security Incident Communication (update &amp; sunset review)</a:t>
          </a:r>
        </a:p>
        <a:p>
          <a:pPr marL="57150" lvl="1" indent="-57150" algn="l" defTabSz="488950">
            <a:lnSpc>
              <a:spcPct val="90000"/>
            </a:lnSpc>
            <a:spcBef>
              <a:spcPct val="0"/>
            </a:spcBef>
            <a:spcAft>
              <a:spcPct val="15000"/>
            </a:spcAft>
            <a:buChar char="••"/>
          </a:pPr>
          <a:r>
            <a:rPr lang="en-US" sz="1100" kern="1200" dirty="0"/>
            <a:t>Rescind five SOA &amp; Integration (Standards 183.10.10 through 183.30.30) (sunset review) </a:t>
          </a:r>
        </a:p>
      </dsp:txBody>
      <dsp:txXfrm>
        <a:off x="2437" y="439172"/>
        <a:ext cx="2376781" cy="4908574"/>
      </dsp:txXfrm>
    </dsp:sp>
    <dsp:sp modelId="{90E93331-B66E-4D50-8632-F54BFA722E48}">
      <dsp:nvSpPr>
        <dsp:cNvPr id="0" name=""/>
        <dsp:cNvSpPr/>
      </dsp:nvSpPr>
      <dsp:spPr>
        <a:xfrm>
          <a:off x="2711968" y="23323"/>
          <a:ext cx="2376781" cy="415848"/>
        </a:xfrm>
        <a:prstGeom prst="rect">
          <a:avLst/>
        </a:prstGeom>
        <a:solidFill>
          <a:schemeClr val="accent5">
            <a:hueOff val="-3676672"/>
            <a:satOff val="-5114"/>
            <a:lumOff val="-1961"/>
            <a:alphaOff val="0"/>
          </a:schemeClr>
        </a:solidFill>
        <a:ln w="12700" cap="flat" cmpd="sng" algn="ctr">
          <a:solidFill>
            <a:schemeClr val="accent5">
              <a:hueOff val="-3676672"/>
              <a:satOff val="-5114"/>
              <a:lumOff val="-196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a:t>In Progress</a:t>
          </a:r>
        </a:p>
      </dsp:txBody>
      <dsp:txXfrm>
        <a:off x="2711968" y="23323"/>
        <a:ext cx="2376781" cy="415848"/>
      </dsp:txXfrm>
    </dsp:sp>
    <dsp:sp modelId="{151053C9-398E-4369-A2C7-2AE9561BE193}">
      <dsp:nvSpPr>
        <dsp:cNvPr id="0" name=""/>
        <dsp:cNvSpPr/>
      </dsp:nvSpPr>
      <dsp:spPr>
        <a:xfrm>
          <a:off x="2711968" y="439172"/>
          <a:ext cx="2376781" cy="4908574"/>
        </a:xfrm>
        <a:prstGeom prst="rect">
          <a:avLst/>
        </a:prstGeom>
        <a:solidFill>
          <a:schemeClr val="accent5">
            <a:tint val="40000"/>
            <a:alpha val="90000"/>
            <a:hueOff val="-3695877"/>
            <a:satOff val="-6408"/>
            <a:lumOff val="-644"/>
            <a:alphaOff val="0"/>
          </a:schemeClr>
        </a:solidFill>
        <a:ln w="12700" cap="flat" cmpd="sng" algn="ctr">
          <a:solidFill>
            <a:schemeClr val="accent5">
              <a:tint val="40000"/>
              <a:alpha val="90000"/>
              <a:hueOff val="-3695877"/>
              <a:satOff val="-6408"/>
              <a:lumOff val="-6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b="1" kern="1200" dirty="0"/>
            <a:t>TSB Subcommittee - May</a:t>
          </a:r>
        </a:p>
        <a:p>
          <a:pPr marL="114300" lvl="2" indent="-57150" algn="l" defTabSz="488950">
            <a:lnSpc>
              <a:spcPct val="90000"/>
            </a:lnSpc>
            <a:spcBef>
              <a:spcPct val="0"/>
            </a:spcBef>
            <a:spcAft>
              <a:spcPct val="15000"/>
            </a:spcAft>
            <a:buChar char="••"/>
          </a:pPr>
          <a:r>
            <a:rPr lang="en-US" sz="1100" kern="1200" dirty="0"/>
            <a:t>Interim Update to Policy 112 &amp; related standards- Managing Information Technology Portfolios</a:t>
          </a:r>
        </a:p>
        <a:p>
          <a:pPr marL="114300" lvl="2" indent="-57150" algn="l" defTabSz="488950">
            <a:lnSpc>
              <a:spcPct val="90000"/>
            </a:lnSpc>
            <a:spcBef>
              <a:spcPct val="0"/>
            </a:spcBef>
            <a:spcAft>
              <a:spcPct val="15000"/>
            </a:spcAft>
            <a:buChar char="••"/>
          </a:pPr>
          <a:r>
            <a:rPr lang="en-US" sz="1100" kern="1200" dirty="0"/>
            <a:t>Minor Update to Policy 121 - Approval &amp; Oversight Policy</a:t>
          </a:r>
        </a:p>
        <a:p>
          <a:pPr marL="114300" lvl="2" indent="-57150" algn="l" defTabSz="488950">
            <a:lnSpc>
              <a:spcPct val="90000"/>
            </a:lnSpc>
            <a:spcBef>
              <a:spcPct val="0"/>
            </a:spcBef>
            <a:spcAft>
              <a:spcPct val="15000"/>
            </a:spcAft>
            <a:buChar char="••"/>
          </a:pPr>
          <a:r>
            <a:rPr lang="en-US" sz="1100" kern="1200" dirty="0"/>
            <a:t>Rewritten Policy 191 - Mobile Device Policy (tentative)</a:t>
          </a:r>
        </a:p>
        <a:p>
          <a:pPr marL="57150" lvl="1" indent="-57150" algn="l" defTabSz="488950">
            <a:lnSpc>
              <a:spcPct val="90000"/>
            </a:lnSpc>
            <a:spcBef>
              <a:spcPct val="0"/>
            </a:spcBef>
            <a:spcAft>
              <a:spcPct val="15000"/>
            </a:spcAft>
            <a:buChar char="••"/>
          </a:pPr>
          <a:r>
            <a:rPr lang="en-US" sz="1100" b="1" kern="1200" dirty="0"/>
            <a:t>Finalize &amp; Schedule for TSB Subcommittee</a:t>
          </a:r>
        </a:p>
        <a:p>
          <a:pPr marL="114300" lvl="2" indent="-57150" algn="l" defTabSz="488950">
            <a:lnSpc>
              <a:spcPct val="90000"/>
            </a:lnSpc>
            <a:spcBef>
              <a:spcPct val="0"/>
            </a:spcBef>
            <a:spcAft>
              <a:spcPct val="15000"/>
            </a:spcAft>
            <a:buChar char="••"/>
          </a:pPr>
          <a:r>
            <a:rPr lang="en-US" sz="1100" kern="1200" dirty="0"/>
            <a:t>New Administrative/Financial Systems Approval Policy</a:t>
          </a:r>
        </a:p>
        <a:p>
          <a:pPr marL="114300" lvl="2" indent="-57150" algn="l" defTabSz="488950">
            <a:lnSpc>
              <a:spcPct val="90000"/>
            </a:lnSpc>
            <a:spcBef>
              <a:spcPct val="0"/>
            </a:spcBef>
            <a:spcAft>
              <a:spcPct val="15000"/>
            </a:spcAft>
            <a:buChar char="••"/>
          </a:pPr>
          <a:r>
            <a:rPr lang="en-US" sz="1100" kern="1200" dirty="0"/>
            <a:t>New Radio related policy/standards</a:t>
          </a:r>
        </a:p>
      </dsp:txBody>
      <dsp:txXfrm>
        <a:off x="2711968" y="439172"/>
        <a:ext cx="2376781" cy="4908574"/>
      </dsp:txXfrm>
    </dsp:sp>
    <dsp:sp modelId="{DA7BEEA5-3E6E-4A20-A26D-288AB7291405}">
      <dsp:nvSpPr>
        <dsp:cNvPr id="0" name=""/>
        <dsp:cNvSpPr/>
      </dsp:nvSpPr>
      <dsp:spPr>
        <a:xfrm>
          <a:off x="5421499" y="23323"/>
          <a:ext cx="2376781" cy="415848"/>
        </a:xfrm>
        <a:prstGeom prst="rect">
          <a:avLst/>
        </a:prstGeom>
        <a:solidFill>
          <a:schemeClr val="accent5">
            <a:hueOff val="-7353344"/>
            <a:satOff val="-10228"/>
            <a:lumOff val="-3922"/>
            <a:alphaOff val="0"/>
          </a:schemeClr>
        </a:solidFill>
        <a:ln w="12700" cap="flat" cmpd="sng" algn="ctr">
          <a:solidFill>
            <a:schemeClr val="accent5">
              <a:hueOff val="-7353344"/>
              <a:satOff val="-10228"/>
              <a:lumOff val="-3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lvl="0" algn="ctr" defTabSz="488950">
            <a:lnSpc>
              <a:spcPct val="90000"/>
            </a:lnSpc>
            <a:spcBef>
              <a:spcPct val="0"/>
            </a:spcBef>
            <a:spcAft>
              <a:spcPct val="35000"/>
            </a:spcAft>
          </a:pPr>
          <a:r>
            <a:rPr lang="en-US" sz="1100" kern="1200" dirty="0"/>
            <a:t>In the backlog (all due or overdue, no priority assigned yet)</a:t>
          </a:r>
        </a:p>
      </dsp:txBody>
      <dsp:txXfrm>
        <a:off x="5421499" y="23323"/>
        <a:ext cx="2376781" cy="415848"/>
      </dsp:txXfrm>
    </dsp:sp>
    <dsp:sp modelId="{70DA78C2-3A59-4AA3-B92B-84706EC8DACA}">
      <dsp:nvSpPr>
        <dsp:cNvPr id="0" name=""/>
        <dsp:cNvSpPr/>
      </dsp:nvSpPr>
      <dsp:spPr>
        <a:xfrm>
          <a:off x="5421499" y="439172"/>
          <a:ext cx="2376781" cy="4908574"/>
        </a:xfrm>
        <a:prstGeom prst="rect">
          <a:avLst/>
        </a:prstGeom>
        <a:solidFill>
          <a:schemeClr val="accent5">
            <a:tint val="40000"/>
            <a:alpha val="90000"/>
            <a:hueOff val="-7391755"/>
            <a:satOff val="-12816"/>
            <a:lumOff val="-1289"/>
            <a:alphaOff val="0"/>
          </a:schemeClr>
        </a:solidFill>
        <a:ln w="12700" cap="flat" cmpd="sng" algn="ctr">
          <a:solidFill>
            <a:schemeClr val="accent5">
              <a:tint val="40000"/>
              <a:alpha val="90000"/>
              <a:hueOff val="-7391755"/>
              <a:satOff val="-12816"/>
              <a:lumOff val="-128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kern="1200" dirty="0"/>
            <a:t>Technology Policies &amp; Standards (Policy 101)</a:t>
          </a:r>
        </a:p>
        <a:p>
          <a:pPr marL="57150" lvl="1" indent="-57150" algn="l" defTabSz="488950">
            <a:lnSpc>
              <a:spcPct val="90000"/>
            </a:lnSpc>
            <a:spcBef>
              <a:spcPct val="0"/>
            </a:spcBef>
            <a:spcAft>
              <a:spcPct val="15000"/>
            </a:spcAft>
            <a:buChar char="••"/>
          </a:pPr>
          <a:r>
            <a:rPr lang="en-US" sz="1100" kern="1200" dirty="0"/>
            <a:t>Major Overhaul of Portfolio Management &amp; Strategic Planning (Policy 111, 112 &amp; 114)</a:t>
          </a:r>
        </a:p>
        <a:p>
          <a:pPr marL="57150" lvl="1" indent="-57150" algn="l" defTabSz="488950">
            <a:lnSpc>
              <a:spcPct val="90000"/>
            </a:lnSpc>
            <a:spcBef>
              <a:spcPct val="0"/>
            </a:spcBef>
            <a:spcAft>
              <a:spcPct val="15000"/>
            </a:spcAft>
            <a:buChar char="••"/>
          </a:pPr>
          <a:r>
            <a:rPr lang="en-US" sz="1100" kern="1200" dirty="0"/>
            <a:t>Major Overhaul of Policy 121 - IT Investment Approval/Oversight and related </a:t>
          </a:r>
        </a:p>
        <a:p>
          <a:pPr marL="57150" lvl="1" indent="-57150" algn="l" defTabSz="488950">
            <a:lnSpc>
              <a:spcPct val="90000"/>
            </a:lnSpc>
            <a:spcBef>
              <a:spcPct val="0"/>
            </a:spcBef>
            <a:spcAft>
              <a:spcPct val="15000"/>
            </a:spcAft>
            <a:buChar char="••"/>
          </a:pPr>
          <a:r>
            <a:rPr lang="en-US" sz="1100" kern="1200" dirty="0"/>
            <a:t>Managing IT Projects (Policy 131)</a:t>
          </a:r>
        </a:p>
        <a:p>
          <a:pPr marL="57150" lvl="1" indent="-57150" algn="l" defTabSz="488950">
            <a:lnSpc>
              <a:spcPct val="90000"/>
            </a:lnSpc>
            <a:spcBef>
              <a:spcPct val="0"/>
            </a:spcBef>
            <a:spcAft>
              <a:spcPct val="15000"/>
            </a:spcAft>
            <a:buChar char="••"/>
          </a:pPr>
          <a:r>
            <a:rPr lang="en-US" sz="1100" kern="1200" dirty="0"/>
            <a:t>Project Quality Assurance (Policy 132 &amp; associated standards)</a:t>
          </a:r>
        </a:p>
        <a:p>
          <a:pPr marL="57150" lvl="1" indent="-57150" algn="l" defTabSz="488950">
            <a:lnSpc>
              <a:spcPct val="90000"/>
            </a:lnSpc>
            <a:spcBef>
              <a:spcPct val="0"/>
            </a:spcBef>
            <a:spcAft>
              <a:spcPct val="15000"/>
            </a:spcAft>
            <a:buChar char="••"/>
          </a:pPr>
          <a:r>
            <a:rPr lang="en-US" sz="1100" kern="1200" dirty="0"/>
            <a:t>IT Security Policy (Policy 141)</a:t>
          </a:r>
        </a:p>
        <a:p>
          <a:pPr marL="57150" lvl="1" indent="-57150" algn="l" defTabSz="488950">
            <a:lnSpc>
              <a:spcPct val="90000"/>
            </a:lnSpc>
            <a:spcBef>
              <a:spcPct val="0"/>
            </a:spcBef>
            <a:spcAft>
              <a:spcPct val="15000"/>
            </a:spcAft>
            <a:buChar char="••"/>
          </a:pPr>
          <a:r>
            <a:rPr lang="en-US" sz="1100" kern="1200" dirty="0"/>
            <a:t>GIS Data  Policy &amp; Standards (160/161 Series)</a:t>
          </a:r>
        </a:p>
        <a:p>
          <a:pPr marL="57150" lvl="1" indent="-57150" algn="l" defTabSz="488950">
            <a:lnSpc>
              <a:spcPct val="90000"/>
            </a:lnSpc>
            <a:spcBef>
              <a:spcPct val="0"/>
            </a:spcBef>
            <a:spcAft>
              <a:spcPct val="15000"/>
            </a:spcAft>
            <a:buChar char="••"/>
          </a:pPr>
          <a:r>
            <a:rPr lang="en-US" sz="1100" kern="1200" dirty="0"/>
            <a:t>Domain Naming Standard (Standard 171.10)</a:t>
          </a:r>
        </a:p>
        <a:p>
          <a:pPr marL="57150" lvl="1" indent="-57150" algn="l" defTabSz="488950">
            <a:lnSpc>
              <a:spcPct val="90000"/>
            </a:lnSpc>
            <a:spcBef>
              <a:spcPct val="0"/>
            </a:spcBef>
            <a:spcAft>
              <a:spcPct val="15000"/>
            </a:spcAft>
            <a:buChar char="••"/>
          </a:pPr>
          <a:r>
            <a:rPr lang="en-US" sz="1100" kern="1200" dirty="0"/>
            <a:t> Non-GIS Data standards (Standards 187.1 - Metadata Standard, 182.10.10 - Enterprise Data Standard Framework &amp; 182.10.20 - Data Registry plus develop overall strategy)</a:t>
          </a:r>
        </a:p>
        <a:p>
          <a:pPr marL="57150" lvl="1" indent="-57150" algn="l" defTabSz="488950">
            <a:lnSpc>
              <a:spcPct val="90000"/>
            </a:lnSpc>
            <a:spcBef>
              <a:spcPct val="0"/>
            </a:spcBef>
            <a:spcAft>
              <a:spcPct val="15000"/>
            </a:spcAft>
            <a:buChar char="••"/>
          </a:pPr>
          <a:r>
            <a:rPr lang="en-US" sz="1100" kern="1200" dirty="0"/>
            <a:t>Email naming standard (Standard 182.20.1)</a:t>
          </a:r>
        </a:p>
        <a:p>
          <a:pPr marL="57150" lvl="1" indent="-57150" algn="l" defTabSz="488950">
            <a:lnSpc>
              <a:spcPct val="90000"/>
            </a:lnSpc>
            <a:spcBef>
              <a:spcPct val="0"/>
            </a:spcBef>
            <a:spcAft>
              <a:spcPct val="15000"/>
            </a:spcAft>
            <a:buChar char="••"/>
          </a:pPr>
          <a:r>
            <a:rPr lang="en-US" sz="1100" kern="1200" dirty="0"/>
            <a:t>Identity Management (Standard 183.20.10)</a:t>
          </a:r>
        </a:p>
        <a:p>
          <a:pPr marL="57150" lvl="1" indent="-57150" algn="l" defTabSz="488950">
            <a:lnSpc>
              <a:spcPct val="90000"/>
            </a:lnSpc>
            <a:spcBef>
              <a:spcPct val="0"/>
            </a:spcBef>
            <a:spcAft>
              <a:spcPct val="15000"/>
            </a:spcAft>
            <a:buChar char="••"/>
          </a:pPr>
          <a:r>
            <a:rPr lang="en-US" sz="1100" kern="1200" dirty="0"/>
            <a:t>Accessibility (Policy 188)</a:t>
          </a:r>
        </a:p>
        <a:p>
          <a:pPr marL="57150" lvl="1" indent="-57150" algn="l" defTabSz="488950">
            <a:lnSpc>
              <a:spcPct val="90000"/>
            </a:lnSpc>
            <a:spcBef>
              <a:spcPct val="0"/>
            </a:spcBef>
            <a:spcAft>
              <a:spcPct val="15000"/>
            </a:spcAft>
            <a:buChar char="••"/>
          </a:pPr>
          <a:r>
            <a:rPr lang="en-US" sz="1100" kern="1200" dirty="0"/>
            <a:t>PC Procurement Policy (Policy 201)</a:t>
          </a:r>
        </a:p>
        <a:p>
          <a:pPr marL="57150" lvl="1" indent="-57150" algn="l" defTabSz="488950">
            <a:lnSpc>
              <a:spcPct val="90000"/>
            </a:lnSpc>
            <a:spcBef>
              <a:spcPct val="0"/>
            </a:spcBef>
            <a:spcAft>
              <a:spcPct val="15000"/>
            </a:spcAft>
            <a:buChar char="••"/>
          </a:pPr>
          <a:r>
            <a:rPr lang="en-US" sz="1100" kern="1200" dirty="0"/>
            <a:t>Innovation Policy (Policy 202)</a:t>
          </a:r>
        </a:p>
      </dsp:txBody>
      <dsp:txXfrm>
        <a:off x="5421499" y="439172"/>
        <a:ext cx="2376781" cy="490857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3C58E2-B5A8-4C23-A33F-FB79C256E706}">
      <dsp:nvSpPr>
        <dsp:cNvPr id="0" name=""/>
        <dsp:cNvSpPr/>
      </dsp:nvSpPr>
      <dsp:spPr>
        <a:xfrm>
          <a:off x="3080" y="587032"/>
          <a:ext cx="2444055" cy="1466433"/>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Marijuana Traceability - Liquor &amp; Cannabis Board</a:t>
          </a:r>
        </a:p>
        <a:p>
          <a:pPr lvl="0" algn="ctr" defTabSz="800100">
            <a:lnSpc>
              <a:spcPct val="90000"/>
            </a:lnSpc>
            <a:spcBef>
              <a:spcPct val="0"/>
            </a:spcBef>
            <a:spcAft>
              <a:spcPct val="35000"/>
            </a:spcAft>
          </a:pPr>
          <a:r>
            <a:rPr lang="en-US" sz="1800" kern="1200" dirty="0" smtClean="0"/>
            <a:t>February 2018</a:t>
          </a:r>
          <a:endParaRPr lang="en-US" sz="1800" kern="1200" dirty="0"/>
        </a:p>
      </dsp:txBody>
      <dsp:txXfrm>
        <a:off x="3080" y="587032"/>
        <a:ext cx="2444055" cy="1466433"/>
      </dsp:txXfrm>
    </dsp:sp>
    <dsp:sp modelId="{9D0D84CC-644B-43A6-BD67-276CB54FDD76}">
      <dsp:nvSpPr>
        <dsp:cNvPr id="0" name=""/>
        <dsp:cNvSpPr/>
      </dsp:nvSpPr>
      <dsp:spPr>
        <a:xfrm>
          <a:off x="2691541" y="587032"/>
          <a:ext cx="2444055" cy="1466433"/>
        </a:xfrm>
        <a:prstGeom prst="rect">
          <a:avLst/>
        </a:prstGeom>
        <a:solidFill>
          <a:schemeClr val="accent5">
            <a:hueOff val="-1050478"/>
            <a:satOff val="-1461"/>
            <a:lumOff val="-56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Time &amp; Attendance – Dept. of Early Learning  March 2018</a:t>
          </a:r>
          <a:endParaRPr lang="en-US" sz="1800" kern="1200" dirty="0"/>
        </a:p>
      </dsp:txBody>
      <dsp:txXfrm>
        <a:off x="2691541" y="587032"/>
        <a:ext cx="2444055" cy="1466433"/>
      </dsp:txXfrm>
    </dsp:sp>
    <dsp:sp modelId="{770B4B10-9333-4DB9-B6A2-63F0575339D9}">
      <dsp:nvSpPr>
        <dsp:cNvPr id="0" name=""/>
        <dsp:cNvSpPr/>
      </dsp:nvSpPr>
      <dsp:spPr>
        <a:xfrm>
          <a:off x="5380002" y="587032"/>
          <a:ext cx="2444055" cy="1466433"/>
        </a:xfrm>
        <a:prstGeom prst="rect">
          <a:avLst/>
        </a:prstGeom>
        <a:solidFill>
          <a:schemeClr val="accent5">
            <a:hueOff val="-2100956"/>
            <a:satOff val="-2922"/>
            <a:lumOff val="-11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Online Licensing &amp; Information Collection – Dept. of Health</a:t>
          </a:r>
        </a:p>
        <a:p>
          <a:pPr lvl="0" algn="ctr" defTabSz="800100">
            <a:lnSpc>
              <a:spcPct val="90000"/>
            </a:lnSpc>
            <a:spcBef>
              <a:spcPct val="0"/>
            </a:spcBef>
            <a:spcAft>
              <a:spcPct val="35000"/>
            </a:spcAft>
          </a:pPr>
          <a:r>
            <a:rPr lang="en-US" sz="1800" kern="1200" dirty="0" smtClean="0"/>
            <a:t>March 2018</a:t>
          </a:r>
          <a:endParaRPr lang="en-US" sz="1800" kern="1200" dirty="0"/>
        </a:p>
      </dsp:txBody>
      <dsp:txXfrm>
        <a:off x="5380002" y="587032"/>
        <a:ext cx="2444055" cy="1466433"/>
      </dsp:txXfrm>
    </dsp:sp>
    <dsp:sp modelId="{5E36234C-D86C-42C5-BEFF-CF20C5D039C4}">
      <dsp:nvSpPr>
        <dsp:cNvPr id="0" name=""/>
        <dsp:cNvSpPr/>
      </dsp:nvSpPr>
      <dsp:spPr>
        <a:xfrm>
          <a:off x="8068463" y="587032"/>
          <a:ext cx="2444055" cy="1466433"/>
        </a:xfrm>
        <a:prstGeom prst="rect">
          <a:avLst/>
        </a:prstGeom>
        <a:solidFill>
          <a:schemeClr val="accent5">
            <a:hueOff val="-3151433"/>
            <a:satOff val="-4383"/>
            <a:lumOff val="-16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Tax &amp; Licensing Replacement, Phase 2 – Dept. of Revenue</a:t>
          </a:r>
        </a:p>
        <a:p>
          <a:pPr lvl="0" algn="ctr" defTabSz="800100">
            <a:lnSpc>
              <a:spcPct val="90000"/>
            </a:lnSpc>
            <a:spcBef>
              <a:spcPct val="0"/>
            </a:spcBef>
            <a:spcAft>
              <a:spcPct val="35000"/>
            </a:spcAft>
          </a:pPr>
          <a:r>
            <a:rPr lang="en-US" sz="1800" kern="1200" dirty="0" smtClean="0"/>
            <a:t>March 2018</a:t>
          </a:r>
          <a:endParaRPr lang="en-US" sz="1800" kern="1200" dirty="0"/>
        </a:p>
      </dsp:txBody>
      <dsp:txXfrm>
        <a:off x="8068463" y="587032"/>
        <a:ext cx="2444055" cy="1466433"/>
      </dsp:txXfrm>
    </dsp:sp>
    <dsp:sp modelId="{3B9DCB9F-C138-478A-969C-D0EE97420E1C}">
      <dsp:nvSpPr>
        <dsp:cNvPr id="0" name=""/>
        <dsp:cNvSpPr/>
      </dsp:nvSpPr>
      <dsp:spPr>
        <a:xfrm>
          <a:off x="3080" y="2297871"/>
          <a:ext cx="2444055" cy="1466433"/>
        </a:xfrm>
        <a:prstGeom prst="rect">
          <a:avLst/>
        </a:prstGeom>
        <a:solidFill>
          <a:schemeClr val="accent5">
            <a:hueOff val="-4201911"/>
            <a:satOff val="-5845"/>
            <a:lumOff val="-22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College Savings Plan – Student Achievement Council</a:t>
          </a:r>
        </a:p>
        <a:p>
          <a:pPr lvl="0" algn="ctr" defTabSz="800100">
            <a:lnSpc>
              <a:spcPct val="90000"/>
            </a:lnSpc>
            <a:spcBef>
              <a:spcPct val="0"/>
            </a:spcBef>
            <a:spcAft>
              <a:spcPct val="35000"/>
            </a:spcAft>
          </a:pPr>
          <a:r>
            <a:rPr lang="en-US" sz="1800" kern="1200" dirty="0" smtClean="0"/>
            <a:t>April 2018</a:t>
          </a:r>
          <a:endParaRPr lang="en-US" sz="1800" kern="1200" dirty="0"/>
        </a:p>
      </dsp:txBody>
      <dsp:txXfrm>
        <a:off x="3080" y="2297871"/>
        <a:ext cx="2444055" cy="1466433"/>
      </dsp:txXfrm>
    </dsp:sp>
    <dsp:sp modelId="{2ACE31A3-2436-42B1-9418-C461F5AA0613}">
      <dsp:nvSpPr>
        <dsp:cNvPr id="0" name=""/>
        <dsp:cNvSpPr/>
      </dsp:nvSpPr>
      <dsp:spPr>
        <a:xfrm>
          <a:off x="2691541" y="2297871"/>
          <a:ext cx="2444055" cy="1466433"/>
        </a:xfrm>
        <a:prstGeom prst="rect">
          <a:avLst/>
        </a:prstGeom>
        <a:solidFill>
          <a:schemeClr val="accent5">
            <a:hueOff val="-5252389"/>
            <a:satOff val="-7306"/>
            <a:lumOff val="-280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Client Receivables System – Dept. of Social &amp; Health Services</a:t>
          </a:r>
        </a:p>
        <a:p>
          <a:pPr lvl="0" algn="ctr" defTabSz="800100">
            <a:lnSpc>
              <a:spcPct val="90000"/>
            </a:lnSpc>
            <a:spcBef>
              <a:spcPct val="0"/>
            </a:spcBef>
            <a:spcAft>
              <a:spcPct val="35000"/>
            </a:spcAft>
          </a:pPr>
          <a:r>
            <a:rPr lang="en-US" sz="1800" kern="1200" dirty="0" smtClean="0"/>
            <a:t>May 2018</a:t>
          </a:r>
          <a:endParaRPr lang="en-US" sz="1800" kern="1200" dirty="0"/>
        </a:p>
      </dsp:txBody>
      <dsp:txXfrm>
        <a:off x="2691541" y="2297871"/>
        <a:ext cx="2444055" cy="1466433"/>
      </dsp:txXfrm>
    </dsp:sp>
    <dsp:sp modelId="{D92B3A3E-7CC6-4DCB-B508-90460439E6CF}">
      <dsp:nvSpPr>
        <dsp:cNvPr id="0" name=""/>
        <dsp:cNvSpPr/>
      </dsp:nvSpPr>
      <dsp:spPr>
        <a:xfrm>
          <a:off x="5380002" y="2297871"/>
          <a:ext cx="2444055" cy="1466433"/>
        </a:xfrm>
        <a:prstGeom prst="rect">
          <a:avLst/>
        </a:prstGeom>
        <a:solidFill>
          <a:schemeClr val="accent5">
            <a:hueOff val="-6302867"/>
            <a:satOff val="-8767"/>
            <a:lumOff val="-336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Next Generation 911 Emergency Services IP Network – Military Dept.</a:t>
          </a:r>
        </a:p>
        <a:p>
          <a:pPr lvl="0" algn="ctr" defTabSz="800100">
            <a:lnSpc>
              <a:spcPct val="90000"/>
            </a:lnSpc>
            <a:spcBef>
              <a:spcPct val="0"/>
            </a:spcBef>
            <a:spcAft>
              <a:spcPct val="35000"/>
            </a:spcAft>
          </a:pPr>
          <a:r>
            <a:rPr lang="en-US" sz="1800" kern="1200" dirty="0" smtClean="0"/>
            <a:t>May 2018</a:t>
          </a:r>
          <a:endParaRPr lang="en-US" sz="1800" kern="1200" dirty="0"/>
        </a:p>
      </dsp:txBody>
      <dsp:txXfrm>
        <a:off x="5380002" y="2297871"/>
        <a:ext cx="2444055" cy="1466433"/>
      </dsp:txXfrm>
    </dsp:sp>
    <dsp:sp modelId="{D79E0A02-3E37-4637-A57C-686A550C3BBB}">
      <dsp:nvSpPr>
        <dsp:cNvPr id="0" name=""/>
        <dsp:cNvSpPr/>
      </dsp:nvSpPr>
      <dsp:spPr>
        <a:xfrm>
          <a:off x="8068463" y="2297871"/>
          <a:ext cx="2444055" cy="1466433"/>
        </a:xfrm>
        <a:prstGeom prst="rect">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Sexual Assault Kit Tracking – WA State Patrol</a:t>
          </a:r>
        </a:p>
        <a:p>
          <a:pPr lvl="0" algn="ctr" defTabSz="800100">
            <a:lnSpc>
              <a:spcPct val="90000"/>
            </a:lnSpc>
            <a:spcBef>
              <a:spcPct val="0"/>
            </a:spcBef>
            <a:spcAft>
              <a:spcPct val="35000"/>
            </a:spcAft>
          </a:pPr>
          <a:r>
            <a:rPr lang="en-US" sz="1800" kern="1200" dirty="0" smtClean="0"/>
            <a:t>May 2018</a:t>
          </a:r>
          <a:endParaRPr lang="en-US" sz="1800" kern="1200" dirty="0"/>
        </a:p>
      </dsp:txBody>
      <dsp:txXfrm>
        <a:off x="8068463" y="2297871"/>
        <a:ext cx="2444055" cy="1466433"/>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0"/>
            <a:ext cx="3043344" cy="465455"/>
          </a:xfrm>
          <a:prstGeom prst="rect">
            <a:avLst/>
          </a:prstGeom>
        </p:spPr>
        <p:txBody>
          <a:bodyPr vert="horz" lIns="92552" tIns="46276" rIns="92552" bIns="46276" rtlCol="0"/>
          <a:lstStyle>
            <a:lvl1pPr algn="l">
              <a:defRPr sz="1200"/>
            </a:lvl1pPr>
          </a:lstStyle>
          <a:p>
            <a:endParaRPr lang="en-US" dirty="0">
              <a:latin typeface="Arial"/>
              <a:cs typeface="Arial"/>
            </a:endParaRPr>
          </a:p>
        </p:txBody>
      </p:sp>
      <p:sp>
        <p:nvSpPr>
          <p:cNvPr id="7" name="Date Placeholder 6"/>
          <p:cNvSpPr>
            <a:spLocks noGrp="1"/>
          </p:cNvSpPr>
          <p:nvPr>
            <p:ph type="dt" sz="quarter" idx="1"/>
          </p:nvPr>
        </p:nvSpPr>
        <p:spPr>
          <a:xfrm>
            <a:off x="3978134" y="0"/>
            <a:ext cx="3043344" cy="465455"/>
          </a:xfrm>
          <a:prstGeom prst="rect">
            <a:avLst/>
          </a:prstGeom>
        </p:spPr>
        <p:txBody>
          <a:bodyPr vert="horz" lIns="92552" tIns="46276" rIns="92552" bIns="46276" rtlCol="0"/>
          <a:lstStyle>
            <a:lvl1pPr algn="r">
              <a:defRPr sz="1200"/>
            </a:lvl1pPr>
          </a:lstStyle>
          <a:p>
            <a:fld id="{A3A6EC53-78F5-4E93-A3A4-663C37596E9E}" type="datetime1">
              <a:rPr lang="en-US" smtClean="0">
                <a:latin typeface="Arial"/>
                <a:cs typeface="Arial"/>
              </a:rPr>
              <a:pPr/>
              <a:t>4/12/2018</a:t>
            </a:fld>
            <a:endParaRPr lang="en-US" dirty="0">
              <a:latin typeface="Arial"/>
              <a:cs typeface="Arial"/>
            </a:endParaRPr>
          </a:p>
        </p:txBody>
      </p:sp>
      <p:sp>
        <p:nvSpPr>
          <p:cNvPr id="8" name="Footer Placeholder 7"/>
          <p:cNvSpPr>
            <a:spLocks noGrp="1"/>
          </p:cNvSpPr>
          <p:nvPr>
            <p:ph type="ftr" sz="quarter" idx="2"/>
          </p:nvPr>
        </p:nvSpPr>
        <p:spPr>
          <a:xfrm>
            <a:off x="1685799" y="8714860"/>
            <a:ext cx="3982301" cy="338437"/>
          </a:xfrm>
          <a:prstGeom prst="rect">
            <a:avLst/>
          </a:prstGeom>
        </p:spPr>
        <p:txBody>
          <a:bodyPr vert="horz" lIns="92552" tIns="46276" rIns="92552" bIns="46276" rtlCol="0" anchor="b"/>
          <a:lstStyle>
            <a:lvl1pPr algn="l">
              <a:defRPr sz="1200"/>
            </a:lvl1pPr>
          </a:lstStyle>
          <a:p>
            <a:r>
              <a:rPr lang="en-US" sz="400" dirty="0">
                <a:latin typeface="Arial"/>
                <a:cs typeface="Arial"/>
              </a:rPr>
              <a:t>Copyright © 2015 Washington Technology Solutions (</a:t>
            </a:r>
            <a:r>
              <a:rPr lang="en-US" sz="400" dirty="0" err="1">
                <a:latin typeface="Arial"/>
                <a:cs typeface="Arial"/>
              </a:rPr>
              <a:t>WaTech</a:t>
            </a:r>
            <a:r>
              <a:rPr lang="en-US" sz="400" dirty="0">
                <a:latin typeface="Arial"/>
                <a:cs typeface="Arial"/>
              </a:rPr>
              <a:t>). All rights reserved. Other product names are or may be registered trademarks and/or trademarks in the U.S. and/or other countries. The information herein is for informational purposes only and represents the current view of </a:t>
            </a:r>
            <a:r>
              <a:rPr lang="en-US" sz="400" dirty="0" err="1">
                <a:latin typeface="Arial"/>
                <a:cs typeface="Arial"/>
              </a:rPr>
              <a:t>WaTech</a:t>
            </a:r>
            <a:r>
              <a:rPr lang="en-US" sz="400" dirty="0">
                <a:latin typeface="Arial"/>
                <a:cs typeface="Arial"/>
              </a:rPr>
              <a:t> as of the date of this presentation. Because </a:t>
            </a:r>
            <a:r>
              <a:rPr lang="en-US" sz="400" dirty="0" err="1">
                <a:latin typeface="Arial"/>
                <a:cs typeface="Arial"/>
              </a:rPr>
              <a:t>WaTech</a:t>
            </a:r>
            <a:r>
              <a:rPr lang="en-US" sz="400" dirty="0">
                <a:latin typeface="Arial"/>
                <a:cs typeface="Arial"/>
              </a:rPr>
              <a:t> must respond to changing market conditions, it should not be interpreted to be a commitment on the part of </a:t>
            </a:r>
            <a:r>
              <a:rPr lang="en-US" sz="400" dirty="0" err="1">
                <a:latin typeface="Arial"/>
                <a:cs typeface="Arial"/>
              </a:rPr>
              <a:t>WaTech</a:t>
            </a:r>
            <a:r>
              <a:rPr lang="en-US" sz="400" dirty="0">
                <a:latin typeface="Arial"/>
                <a:cs typeface="Arial"/>
              </a:rPr>
              <a:t>, and </a:t>
            </a:r>
            <a:r>
              <a:rPr lang="en-US" sz="400" dirty="0" err="1">
                <a:latin typeface="Arial"/>
                <a:cs typeface="Arial"/>
              </a:rPr>
              <a:t>WaTech</a:t>
            </a:r>
            <a:r>
              <a:rPr lang="en-US" sz="400" dirty="0">
                <a:latin typeface="Arial"/>
                <a:cs typeface="Arial"/>
              </a:rPr>
              <a:t> cannot guarantee the accuracy of any information provided after the date of this presentation.  WA TECH MAKES NO WARRANTIES, EXPRESS, IMPLIED, OR STATUTORY, AS TO THE INFORMATION IN THIS PRESENTATION.</a:t>
            </a:r>
          </a:p>
        </p:txBody>
      </p:sp>
      <p:sp>
        <p:nvSpPr>
          <p:cNvPr id="9" name="Slide Number Placeholder 8"/>
          <p:cNvSpPr>
            <a:spLocks noGrp="1"/>
          </p:cNvSpPr>
          <p:nvPr>
            <p:ph type="sldNum" sz="quarter" idx="3"/>
          </p:nvPr>
        </p:nvSpPr>
        <p:spPr>
          <a:xfrm>
            <a:off x="5673031" y="8575975"/>
            <a:ext cx="1098661" cy="465455"/>
          </a:xfrm>
          <a:prstGeom prst="rect">
            <a:avLst/>
          </a:prstGeom>
        </p:spPr>
        <p:txBody>
          <a:bodyPr vert="horz" lIns="92552" tIns="46276" rIns="92552" bIns="46276" rtlCol="0" anchor="b"/>
          <a:lstStyle>
            <a:lvl1pPr algn="r">
              <a:defRPr sz="1200"/>
            </a:lvl1pPr>
          </a:lstStyle>
          <a:p>
            <a:fld id="{0EC9E9D6-92A0-482B-A603-C9BA7FFB8190}" type="slidenum">
              <a:rPr lang="en-US" smtClean="0">
                <a:latin typeface="Arial"/>
                <a:cs typeface="Arial"/>
              </a:rPr>
              <a:pPr/>
              <a:t>‹#›</a:t>
            </a:fld>
            <a:endParaRPr lang="en-US" dirty="0">
              <a:latin typeface="Arial"/>
              <a:cs typeface="Arial"/>
            </a:endParaRPr>
          </a:p>
        </p:txBody>
      </p:sp>
      <p:cxnSp>
        <p:nvCxnSpPr>
          <p:cNvPr id="10" name="Straight Connector 9"/>
          <p:cNvCxnSpPr/>
          <p:nvPr/>
        </p:nvCxnSpPr>
        <p:spPr>
          <a:xfrm>
            <a:off x="349745" y="8571101"/>
            <a:ext cx="6421094" cy="0"/>
          </a:xfrm>
          <a:prstGeom prst="line">
            <a:avLst/>
          </a:prstGeom>
          <a:ln w="127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WaTech-FINAL-LOGO-20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821" y="8661326"/>
            <a:ext cx="936123" cy="317123"/>
          </a:xfrm>
          <a:prstGeom prst="rect">
            <a:avLst/>
          </a:prstGeom>
        </p:spPr>
      </p:pic>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0"/>
            <a:ext cx="3043344" cy="465455"/>
          </a:xfrm>
          <a:prstGeom prst="rect">
            <a:avLst/>
          </a:prstGeom>
        </p:spPr>
        <p:txBody>
          <a:bodyPr vert="horz" lIns="92552" tIns="46276" rIns="92552" bIns="46276" rtlCol="0"/>
          <a:lstStyle>
            <a:lvl1pPr algn="l">
              <a:defRPr sz="1200">
                <a:latin typeface="Arial"/>
                <a:cs typeface="Arial"/>
              </a:defRPr>
            </a:lvl1pPr>
          </a:lstStyle>
          <a:p>
            <a:endParaRPr lang="en-US" dirty="0"/>
          </a:p>
        </p:txBody>
      </p:sp>
      <p:sp>
        <p:nvSpPr>
          <p:cNvPr id="9" name="Slide Image Placeholder 8"/>
          <p:cNvSpPr>
            <a:spLocks noGrp="1" noRot="1" noChangeAspect="1"/>
          </p:cNvSpPr>
          <p:nvPr>
            <p:ph type="sldImg" idx="2"/>
          </p:nvPr>
        </p:nvSpPr>
        <p:spPr>
          <a:xfrm>
            <a:off x="406400" y="695325"/>
            <a:ext cx="6210300" cy="3492500"/>
          </a:xfrm>
          <a:prstGeom prst="rect">
            <a:avLst/>
          </a:prstGeom>
          <a:noFill/>
          <a:ln w="12700">
            <a:solidFill>
              <a:prstClr val="black"/>
            </a:solidFill>
          </a:ln>
        </p:spPr>
        <p:txBody>
          <a:bodyPr vert="horz" lIns="92552" tIns="46276" rIns="92552" bIns="46276" rtlCol="0" anchor="ctr"/>
          <a:lstStyle/>
          <a:p>
            <a:endParaRPr lang="en-US" dirty="0"/>
          </a:p>
        </p:txBody>
      </p:sp>
      <p:sp>
        <p:nvSpPr>
          <p:cNvPr id="11" name="Date Placeholder 10"/>
          <p:cNvSpPr>
            <a:spLocks noGrp="1"/>
          </p:cNvSpPr>
          <p:nvPr>
            <p:ph type="dt" idx="1"/>
          </p:nvPr>
        </p:nvSpPr>
        <p:spPr>
          <a:xfrm>
            <a:off x="3978134" y="0"/>
            <a:ext cx="3043344" cy="465455"/>
          </a:xfrm>
          <a:prstGeom prst="rect">
            <a:avLst/>
          </a:prstGeom>
        </p:spPr>
        <p:txBody>
          <a:bodyPr vert="horz" lIns="92552" tIns="46276" rIns="92552" bIns="46276" rtlCol="0"/>
          <a:lstStyle>
            <a:lvl1pPr algn="r">
              <a:defRPr sz="1200">
                <a:latin typeface="Arial"/>
                <a:cs typeface="Arial"/>
              </a:defRPr>
            </a:lvl1pPr>
          </a:lstStyle>
          <a:p>
            <a:fld id="{A8169D3E-AA8A-43A8-A9E4-09EDE817CDC5}" type="datetime1">
              <a:rPr lang="en-US" smtClean="0"/>
              <a:pPr/>
              <a:t>4/12/2018</a:t>
            </a:fld>
            <a:endParaRPr lang="en-US" dirty="0"/>
          </a:p>
        </p:txBody>
      </p:sp>
      <p:sp>
        <p:nvSpPr>
          <p:cNvPr id="12" name="Notes Placeholder 11"/>
          <p:cNvSpPr>
            <a:spLocks noGrp="1"/>
          </p:cNvSpPr>
          <p:nvPr>
            <p:ph type="body" sz="quarter" idx="3"/>
          </p:nvPr>
        </p:nvSpPr>
        <p:spPr>
          <a:xfrm>
            <a:off x="702311" y="4421825"/>
            <a:ext cx="5618480" cy="4189095"/>
          </a:xfrm>
          <a:prstGeom prst="rect">
            <a:avLst/>
          </a:prstGeom>
        </p:spPr>
        <p:txBody>
          <a:bodyPr vert="horz" lIns="92552" tIns="46276" rIns="92552" bIns="4627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Footer Placeholder 7"/>
          <p:cNvSpPr>
            <a:spLocks noGrp="1"/>
          </p:cNvSpPr>
          <p:nvPr>
            <p:ph type="ftr" sz="quarter" idx="4"/>
          </p:nvPr>
        </p:nvSpPr>
        <p:spPr>
          <a:xfrm>
            <a:off x="1685799" y="8875646"/>
            <a:ext cx="3982301" cy="338437"/>
          </a:xfrm>
          <a:prstGeom prst="rect">
            <a:avLst/>
          </a:prstGeom>
        </p:spPr>
        <p:txBody>
          <a:bodyPr vert="horz" lIns="92552" tIns="46276" rIns="92552" bIns="46276" rtlCol="0" anchor="b"/>
          <a:lstStyle>
            <a:lvl1pPr algn="l">
              <a:defRPr sz="1200"/>
            </a:lvl1pPr>
          </a:lstStyle>
          <a:p>
            <a:r>
              <a:rPr lang="en-US" sz="400" dirty="0">
                <a:latin typeface="Arial"/>
                <a:cs typeface="Arial"/>
              </a:rPr>
              <a:t>Copyright © 2015 Washington Technology Solutions (</a:t>
            </a:r>
            <a:r>
              <a:rPr lang="en-US" sz="400" dirty="0" err="1">
                <a:latin typeface="Arial"/>
                <a:cs typeface="Arial"/>
              </a:rPr>
              <a:t>WaTech</a:t>
            </a:r>
            <a:r>
              <a:rPr lang="en-US" sz="400" dirty="0">
                <a:latin typeface="Arial"/>
                <a:cs typeface="Arial"/>
              </a:rPr>
              <a:t>). All rights reserved. Other product names are or may be registered trademarks and/or trademarks in the U.S. and/or other countries. The information herein is for informational purposes only and represents the current view of </a:t>
            </a:r>
            <a:r>
              <a:rPr lang="en-US" sz="400" dirty="0" err="1">
                <a:latin typeface="Arial"/>
                <a:cs typeface="Arial"/>
              </a:rPr>
              <a:t>WaTech</a:t>
            </a:r>
            <a:r>
              <a:rPr lang="en-US" sz="400" dirty="0">
                <a:latin typeface="Arial"/>
                <a:cs typeface="Arial"/>
              </a:rPr>
              <a:t> as of the date of this presentation. Because </a:t>
            </a:r>
            <a:r>
              <a:rPr lang="en-US" sz="400" dirty="0" err="1">
                <a:latin typeface="Arial"/>
                <a:cs typeface="Arial"/>
              </a:rPr>
              <a:t>WaTech</a:t>
            </a:r>
            <a:r>
              <a:rPr lang="en-US" sz="400" dirty="0">
                <a:latin typeface="Arial"/>
                <a:cs typeface="Arial"/>
              </a:rPr>
              <a:t> must respond to changing market conditions, it should not be interpreted to be a commitment on the part of </a:t>
            </a:r>
            <a:r>
              <a:rPr lang="en-US" sz="400" dirty="0" err="1">
                <a:latin typeface="Arial"/>
                <a:cs typeface="Arial"/>
              </a:rPr>
              <a:t>WaTech</a:t>
            </a:r>
            <a:r>
              <a:rPr lang="en-US" sz="400" dirty="0">
                <a:latin typeface="Arial"/>
                <a:cs typeface="Arial"/>
              </a:rPr>
              <a:t>, and </a:t>
            </a:r>
            <a:r>
              <a:rPr lang="en-US" sz="400" dirty="0" err="1">
                <a:latin typeface="Arial"/>
                <a:cs typeface="Arial"/>
              </a:rPr>
              <a:t>WaTech</a:t>
            </a:r>
            <a:r>
              <a:rPr lang="en-US" sz="400" dirty="0">
                <a:latin typeface="Arial"/>
                <a:cs typeface="Arial"/>
              </a:rPr>
              <a:t> cannot guarantee the accuracy of any information provided after the date of this presentation.  WA TECH MAKES NO WARRANTIES, EXPRESS, IMPLIED, OR STATUTORY, AS TO THE INFORMATION IN THIS PRESENTATION.</a:t>
            </a:r>
          </a:p>
        </p:txBody>
      </p:sp>
      <p:sp>
        <p:nvSpPr>
          <p:cNvPr id="15" name="Slide Number Placeholder 8"/>
          <p:cNvSpPr>
            <a:spLocks noGrp="1"/>
          </p:cNvSpPr>
          <p:nvPr>
            <p:ph type="sldNum" sz="quarter" idx="5"/>
          </p:nvPr>
        </p:nvSpPr>
        <p:spPr>
          <a:xfrm>
            <a:off x="5673031" y="8736761"/>
            <a:ext cx="1098661" cy="465455"/>
          </a:xfrm>
          <a:prstGeom prst="rect">
            <a:avLst/>
          </a:prstGeom>
        </p:spPr>
        <p:txBody>
          <a:bodyPr vert="horz" lIns="92552" tIns="46276" rIns="92552" bIns="46276" rtlCol="0" anchor="b"/>
          <a:lstStyle>
            <a:lvl1pPr algn="r">
              <a:defRPr sz="1200"/>
            </a:lvl1pPr>
          </a:lstStyle>
          <a:p>
            <a:fld id="{0EC9E9D6-92A0-482B-A603-C9BA7FFB8190}" type="slidenum">
              <a:rPr lang="en-US" smtClean="0">
                <a:latin typeface="Arial"/>
                <a:cs typeface="Arial"/>
              </a:rPr>
              <a:pPr/>
              <a:t>‹#›</a:t>
            </a:fld>
            <a:endParaRPr lang="en-US" dirty="0">
              <a:latin typeface="Arial"/>
              <a:cs typeface="Arial"/>
            </a:endParaRPr>
          </a:p>
        </p:txBody>
      </p:sp>
      <p:cxnSp>
        <p:nvCxnSpPr>
          <p:cNvPr id="16" name="Straight Connector 15"/>
          <p:cNvCxnSpPr/>
          <p:nvPr/>
        </p:nvCxnSpPr>
        <p:spPr>
          <a:xfrm>
            <a:off x="349745" y="8731888"/>
            <a:ext cx="6421094" cy="0"/>
          </a:xfrm>
          <a:prstGeom prst="line">
            <a:avLst/>
          </a:prstGeom>
          <a:ln w="127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16" descr="WaTech-FINAL-LOGO-20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821" y="8822112"/>
            <a:ext cx="936123" cy="317123"/>
          </a:xfrm>
          <a:prstGeom prst="rect">
            <a:avLst/>
          </a:prstGeom>
        </p:spPr>
      </p:pic>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768113" rtl="0" eaLnBrk="1" latinLnBrk="0" hangingPunct="1">
      <a:lnSpc>
        <a:spcPct val="90000"/>
      </a:lnSpc>
      <a:spcAft>
        <a:spcPts val="280"/>
      </a:spcAft>
      <a:defRPr sz="700" kern="1200">
        <a:solidFill>
          <a:schemeClr val="tx1"/>
        </a:solidFill>
        <a:latin typeface="Arial"/>
        <a:ea typeface="+mn-ea"/>
        <a:cs typeface="Arial"/>
      </a:defRPr>
    </a:lvl1pPr>
    <a:lvl2pPr marL="178915" indent="-88902"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2pPr>
    <a:lvl3pPr marL="275596" indent="-9668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3pPr>
    <a:lvl4pPr marL="405616" indent="-12335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4pPr>
    <a:lvl5pPr marL="516743" indent="-9668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5pPr>
    <a:lvl6pPr marL="1920283" algn="l" defTabSz="768113" rtl="0" eaLnBrk="1" latinLnBrk="0" hangingPunct="1">
      <a:defRPr sz="1000" kern="1200">
        <a:solidFill>
          <a:schemeClr val="tx1"/>
        </a:solidFill>
        <a:latin typeface="+mn-lt"/>
        <a:ea typeface="+mn-ea"/>
        <a:cs typeface="+mn-cs"/>
      </a:defRPr>
    </a:lvl6pPr>
    <a:lvl7pPr marL="2304339" algn="l" defTabSz="768113" rtl="0" eaLnBrk="1" latinLnBrk="0" hangingPunct="1">
      <a:defRPr sz="1000" kern="1200">
        <a:solidFill>
          <a:schemeClr val="tx1"/>
        </a:solidFill>
        <a:latin typeface="+mn-lt"/>
        <a:ea typeface="+mn-ea"/>
        <a:cs typeface="+mn-cs"/>
      </a:defRPr>
    </a:lvl7pPr>
    <a:lvl8pPr marL="2688396" algn="l" defTabSz="768113" rtl="0" eaLnBrk="1" latinLnBrk="0" hangingPunct="1">
      <a:defRPr sz="1000" kern="1200">
        <a:solidFill>
          <a:schemeClr val="tx1"/>
        </a:solidFill>
        <a:latin typeface="+mn-lt"/>
        <a:ea typeface="+mn-ea"/>
        <a:cs typeface="+mn-cs"/>
      </a:defRPr>
    </a:lvl8pPr>
    <a:lvl9pPr marL="3072453" algn="l" defTabSz="768113"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y</a:t>
            </a:r>
            <a:r>
              <a:rPr lang="en-US" baseline="0" dirty="0" smtClean="0"/>
              <a:t> Slide: </a:t>
            </a:r>
          </a:p>
          <a:p>
            <a:pPr marL="174708" indent="-174708">
              <a:buFontTx/>
              <a:buChar char="-"/>
            </a:pPr>
            <a:r>
              <a:rPr lang="en-US" baseline="0" dirty="0" smtClean="0"/>
              <a:t>Every 2 years, we need to go through the process of assessing our DP prioritization criteria. </a:t>
            </a:r>
          </a:p>
          <a:p>
            <a:pPr marL="174708" indent="-174708">
              <a:buFontTx/>
              <a:buChar char="-"/>
            </a:pPr>
            <a:r>
              <a:rPr lang="en-US" baseline="0" dirty="0" smtClean="0"/>
              <a:t>What’s changed to prompt this: Emphasis in the strategic plan has changed, overall climate of IT has changed, focus areas have changed.</a:t>
            </a:r>
          </a:p>
          <a:p>
            <a:endParaRPr lang="en-US" baseline="0" dirty="0" smtClean="0"/>
          </a:p>
          <a:p>
            <a:r>
              <a:rPr lang="en-US" baseline="0" dirty="0" smtClean="0"/>
              <a:t>Where are we today: </a:t>
            </a:r>
          </a:p>
          <a:p>
            <a:pPr marL="174708" indent="-174708">
              <a:buFontTx/>
              <a:buChar char="-"/>
            </a:pPr>
            <a:r>
              <a:rPr lang="en-US" baseline="0" dirty="0" smtClean="0"/>
              <a:t>Very beginning of process: establish criteria we will use to assess DPs for new biennium. </a:t>
            </a:r>
          </a:p>
          <a:p>
            <a:pPr marL="174708" indent="-174708">
              <a:buFontTx/>
              <a:buChar char="-"/>
            </a:pPr>
            <a:r>
              <a:rPr lang="en-US" baseline="0" dirty="0" smtClean="0"/>
              <a:t>No immediate action required today; soliciting feedback on direction to take.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F81B1D-63FB-441C-94F7-DE00E3C0B3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9122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F81B1D-63FB-441C-94F7-DE00E3C0B3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92458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image" Target="../media/image30.png"/><Relationship Id="rId16" Type="http://schemas.openxmlformats.org/officeDocument/2006/relationships/image" Target="../media/image44.png"/><Relationship Id="rId1" Type="http://schemas.openxmlformats.org/officeDocument/2006/relationships/slideMaster" Target="../slideMasters/slideMaster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9.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 Tech Cover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4">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230023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 Tech Internal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accent5">
              <a:lumMod val="75000"/>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88282"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48093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668851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 Tech Internal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00698"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39349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1961244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 Tech 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13982442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 Tech 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405858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 Tech Divider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921400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 Tech Blank">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Tree>
    <p:extLst>
      <p:ext uri="{BB962C8B-B14F-4D97-AF65-F5344CB8AC3E}">
        <p14:creationId xmlns:p14="http://schemas.microsoft.com/office/powerpoint/2010/main" val="12660143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 Tech Singl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35804"/>
            <a:ext cx="1129030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Tree>
    <p:extLst>
      <p:ext uri="{BB962C8B-B14F-4D97-AF65-F5344CB8AC3E}">
        <p14:creationId xmlns:p14="http://schemas.microsoft.com/office/powerpoint/2010/main" val="41569855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 Tech Two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6070722" y="1619472"/>
            <a:ext cx="5464175" cy="4241578"/>
          </a:xfrm>
          <a:prstGeom prst="rect">
            <a:avLst/>
          </a:prstGeom>
        </p:spPr>
        <p:txBody>
          <a:bodyPr vert="horz"/>
          <a:lstStyle>
            <a:lvl1pPr>
              <a:defRPr sz="2000">
                <a:solidFill>
                  <a:srgbClr val="0C3A6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40058237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 Tech Thre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9" y="1596171"/>
            <a:ext cx="3576492" cy="4240921"/>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4194806" y="1596171"/>
            <a:ext cx="3541893" cy="4241578"/>
          </a:xfrm>
          <a:prstGeom prst="rect">
            <a:avLst/>
          </a:prstGeom>
        </p:spPr>
        <p:txBody>
          <a:bodyPr vert="horz"/>
          <a:lstStyle>
            <a:lvl1pPr>
              <a:defRPr sz="2000">
                <a:solidFill>
                  <a:srgbClr val="0C3A69"/>
                </a:solidFill>
                <a:latin typeface="+mn-lt"/>
              </a:defRPr>
            </a:lvl1pPr>
          </a:lstStyle>
          <a:p>
            <a:pPr lvl="0"/>
            <a:r>
              <a:rPr lang="en-US" smtClean="0"/>
              <a:t>Click to edit Master text styles</a:t>
            </a:r>
          </a:p>
        </p:txBody>
      </p:sp>
      <p:sp>
        <p:nvSpPr>
          <p:cNvPr id="4" name="Content Placeholder 3"/>
          <p:cNvSpPr>
            <a:spLocks noGrp="1"/>
          </p:cNvSpPr>
          <p:nvPr>
            <p:ph sz="quarter" idx="12"/>
          </p:nvPr>
        </p:nvSpPr>
        <p:spPr>
          <a:xfrm>
            <a:off x="7982042" y="1596171"/>
            <a:ext cx="3587750" cy="4252179"/>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Click to edit Master text styles</a:t>
            </a:r>
          </a:p>
        </p:txBody>
      </p:sp>
    </p:spTree>
    <p:extLst>
      <p:ext uri="{BB962C8B-B14F-4D97-AF65-F5344CB8AC3E}">
        <p14:creationId xmlns:p14="http://schemas.microsoft.com/office/powerpoint/2010/main" val="106776573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 Tech Simple Char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4" name="Chart Placeholder 3"/>
          <p:cNvSpPr>
            <a:spLocks noGrp="1"/>
          </p:cNvSpPr>
          <p:nvPr>
            <p:ph type="chart" sz="quarter" idx="11"/>
          </p:nvPr>
        </p:nvSpPr>
        <p:spPr>
          <a:xfrm>
            <a:off x="6024563" y="1619472"/>
            <a:ext cx="5732462" cy="42415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dirty="0"/>
          </a:p>
        </p:txBody>
      </p:sp>
    </p:spTree>
    <p:extLst>
      <p:ext uri="{BB962C8B-B14F-4D97-AF65-F5344CB8AC3E}">
        <p14:creationId xmlns:p14="http://schemas.microsoft.com/office/powerpoint/2010/main" val="26397444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WA Tech Cover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2">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11890452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 Tech Simple Tab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466066" y="1514475"/>
            <a:ext cx="11185589" cy="4276725"/>
          </a:xfrm>
          <a:prstGeom prst="rect">
            <a:avLst/>
          </a:prstGeom>
        </p:spPr>
        <p:txBody>
          <a:bodyPr vert="horz"/>
          <a:lstStyle/>
          <a:p>
            <a:r>
              <a:rPr lang="en-US" smtClean="0"/>
              <a:t>Click icon to add table</a:t>
            </a:r>
            <a:endParaRPr lang="en-US"/>
          </a:p>
        </p:txBody>
      </p:sp>
    </p:spTree>
    <p:extLst>
      <p:ext uri="{BB962C8B-B14F-4D97-AF65-F5344CB8AC3E}">
        <p14:creationId xmlns:p14="http://schemas.microsoft.com/office/powerpoint/2010/main" val="148539988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 Tech Header ">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066346"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Tree>
    <p:extLst>
      <p:ext uri="{BB962C8B-B14F-4D97-AF65-F5344CB8AC3E}">
        <p14:creationId xmlns:p14="http://schemas.microsoft.com/office/powerpoint/2010/main" val="342977522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 Tech Header Two Colum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6256937" y="1630363"/>
            <a:ext cx="5499581" cy="4252912"/>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Click to edit Master text styles</a:t>
            </a:r>
          </a:p>
        </p:txBody>
      </p:sp>
    </p:spTree>
    <p:extLst>
      <p:ext uri="{BB962C8B-B14F-4D97-AF65-F5344CB8AC3E}">
        <p14:creationId xmlns:p14="http://schemas.microsoft.com/office/powerpoint/2010/main" val="907653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 Tech Header Graphic Char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4" name="Chart Placeholder 3"/>
          <p:cNvSpPr>
            <a:spLocks noGrp="1"/>
          </p:cNvSpPr>
          <p:nvPr>
            <p:ph type="chart" sz="quarter" idx="12"/>
          </p:nvPr>
        </p:nvSpPr>
        <p:spPr>
          <a:xfrm>
            <a:off x="6291893" y="1619250"/>
            <a:ext cx="5254386" cy="4264025"/>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368968842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 Tech Header Table">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558800" y="1712913"/>
            <a:ext cx="11093450" cy="4078287"/>
          </a:xfrm>
          <a:prstGeom prst="rect">
            <a:avLst/>
          </a:prstGeom>
        </p:spPr>
        <p:txBody>
          <a:bodyPr vert="horz"/>
          <a:lstStyle>
            <a:lvl1pPr>
              <a:defRPr sz="2000">
                <a:solidFill>
                  <a:srgbClr val="0C3A69"/>
                </a:solidFill>
                <a:latin typeface="+mn-lt"/>
              </a:defRPr>
            </a:lvl1pPr>
          </a:lstStyle>
          <a:p>
            <a:r>
              <a:rPr lang="en-US" smtClean="0"/>
              <a:t>Click icon to add table</a:t>
            </a:r>
            <a:endParaRPr lang="en-US" dirty="0"/>
          </a:p>
        </p:txBody>
      </p:sp>
    </p:spTree>
    <p:extLst>
      <p:ext uri="{BB962C8B-B14F-4D97-AF65-F5344CB8AC3E}">
        <p14:creationId xmlns:p14="http://schemas.microsoft.com/office/powerpoint/2010/main" val="19392598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 Tech Foot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182863"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15181667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 Tech Footer Two Colum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3" name="Content Placeholder 2"/>
          <p:cNvSpPr>
            <a:spLocks noGrp="1"/>
          </p:cNvSpPr>
          <p:nvPr>
            <p:ph sz="quarter" idx="11"/>
          </p:nvPr>
        </p:nvSpPr>
        <p:spPr>
          <a:xfrm>
            <a:off x="6199312" y="1619250"/>
            <a:ext cx="5347894" cy="4229100"/>
          </a:xfrm>
          <a:prstGeom prst="rect">
            <a:avLst/>
          </a:prstGeom>
        </p:spPr>
        <p:txBody>
          <a:bodyPr vert="horz"/>
          <a:lstStyle>
            <a:lvl1pPr>
              <a:defRPr sz="2000">
                <a:solidFill>
                  <a:srgbClr val="0C3A69"/>
                </a:solidFill>
                <a:latin typeface="+mn-lt"/>
              </a:defRPr>
            </a:lvl1pPr>
            <a:lvl2pPr>
              <a:defRPr sz="2000">
                <a:solidFill>
                  <a:srgbClr val="0C3A69"/>
                </a:solidFill>
              </a:defRPr>
            </a:lvl2pPr>
            <a:lvl3pPr>
              <a:defRPr sz="2000">
                <a:solidFill>
                  <a:srgbClr val="0C3A69"/>
                </a:solidFill>
              </a:defRPr>
            </a:lvl3pPr>
            <a:lvl4pPr>
              <a:defRPr sz="2000">
                <a:solidFill>
                  <a:srgbClr val="0C3A69"/>
                </a:solidFill>
              </a:defRPr>
            </a:lvl4pPr>
            <a:lvl5pPr>
              <a:defRPr sz="2000">
                <a:solidFill>
                  <a:srgbClr val="0C3A69"/>
                </a:solidFill>
              </a:defRPr>
            </a:lvl5pPr>
          </a:lstStyle>
          <a:p>
            <a:pPr lvl="0"/>
            <a:r>
              <a:rPr lang="en-US" smtClean="0"/>
              <a:t>Click to edit Master text styles</a:t>
            </a:r>
          </a:p>
        </p:txBody>
      </p:sp>
    </p:spTree>
    <p:extLst>
      <p:ext uri="{BB962C8B-B14F-4D97-AF65-F5344CB8AC3E}">
        <p14:creationId xmlns:p14="http://schemas.microsoft.com/office/powerpoint/2010/main" val="220727895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 Tech Footer Char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4" name="Chart Placeholder 3"/>
          <p:cNvSpPr>
            <a:spLocks noGrp="1"/>
          </p:cNvSpPr>
          <p:nvPr>
            <p:ph type="chart" sz="quarter" idx="11"/>
          </p:nvPr>
        </p:nvSpPr>
        <p:spPr>
          <a:xfrm>
            <a:off x="6140121" y="1619472"/>
            <a:ext cx="5651500" cy="42288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118922512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 Tech Footer Table">
    <p:spTree>
      <p:nvGrpSpPr>
        <p:cNvPr id="1" name=""/>
        <p:cNvGrpSpPr/>
        <p:nvPr/>
      </p:nvGrpSpPr>
      <p:grpSpPr>
        <a:xfrm>
          <a:off x="0" y="0"/>
          <a:ext cx="0" cy="0"/>
          <a:chOff x="0" y="0"/>
          <a:chExt cx="0" cy="0"/>
        </a:xfrm>
      </p:grpSpPr>
      <p:sp>
        <p:nvSpPr>
          <p:cNvPr id="3" name="Table Placeholder 2"/>
          <p:cNvSpPr>
            <a:spLocks noGrp="1"/>
          </p:cNvSpPr>
          <p:nvPr>
            <p:ph type="tbl" sz="quarter" idx="12"/>
          </p:nvPr>
        </p:nvSpPr>
        <p:spPr>
          <a:xfrm>
            <a:off x="501650" y="1619250"/>
            <a:ext cx="11290300" cy="4241800"/>
          </a:xfrm>
          <a:prstGeom prst="rect">
            <a:avLst/>
          </a:prstGeom>
        </p:spPr>
        <p:txBody>
          <a:bodyPr vert="horz"/>
          <a:lstStyle>
            <a:lvl1pPr>
              <a:defRPr sz="2000">
                <a:solidFill>
                  <a:srgbClr val="0C3A69"/>
                </a:solidFill>
              </a:defRPr>
            </a:lvl1pPr>
          </a:lstStyle>
          <a:p>
            <a:r>
              <a:rPr lang="en-US" smtClean="0"/>
              <a:t>Click icon to add table</a:t>
            </a:r>
            <a:endParaRPr lang="en-US"/>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328997215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 Tech R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516632" y="349314"/>
            <a:ext cx="8127216"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527050" y="1635804"/>
            <a:ext cx="8115511"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0006" r="2119"/>
          <a:stretch/>
        </p:blipFill>
        <p:spPr>
          <a:xfrm>
            <a:off x="8793524" y="0"/>
            <a:ext cx="3398476" cy="6858000"/>
          </a:xfrm>
          <a:prstGeom prst="rect">
            <a:avLst/>
          </a:prstGeom>
          <a:solidFill>
            <a:srgbClr val="FFFFFF"/>
          </a:solidFill>
        </p:spPr>
      </p:pic>
    </p:spTree>
    <p:extLst>
      <p:ext uri="{BB962C8B-B14F-4D97-AF65-F5344CB8AC3E}">
        <p14:creationId xmlns:p14="http://schemas.microsoft.com/office/powerpoint/2010/main" val="220071530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WA Tech Cover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6">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193975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 Tech L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634626" y="349314"/>
            <a:ext cx="8073562"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3634626" y="1635804"/>
            <a:ext cx="8072656"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36225" y="6080456"/>
            <a:ext cx="1562699" cy="529618"/>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70006" r="2119"/>
          <a:stretch/>
        </p:blipFill>
        <p:spPr>
          <a:xfrm flipH="1">
            <a:off x="0" y="0"/>
            <a:ext cx="3398476" cy="6858000"/>
          </a:xfrm>
          <a:prstGeom prst="rect">
            <a:avLst/>
          </a:prstGeom>
          <a:solidFill>
            <a:srgbClr val="FFFFFF"/>
          </a:solidFill>
        </p:spPr>
      </p:pic>
    </p:spTree>
    <p:extLst>
      <p:ext uri="{BB962C8B-B14F-4D97-AF65-F5344CB8AC3E}">
        <p14:creationId xmlns:p14="http://schemas.microsoft.com/office/powerpoint/2010/main" val="14227102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 Tech Tint Background">
    <p:spTree>
      <p:nvGrpSpPr>
        <p:cNvPr id="1" name=""/>
        <p:cNvGrpSpPr/>
        <p:nvPr/>
      </p:nvGrpSpPr>
      <p:grpSpPr>
        <a:xfrm>
          <a:off x="0" y="0"/>
          <a:ext cx="0" cy="0"/>
          <a:chOff x="0" y="0"/>
          <a:chExt cx="0" cy="0"/>
        </a:xfrm>
      </p:grpSpPr>
      <p:grpSp>
        <p:nvGrpSpPr>
          <p:cNvPr id="3" name="Group 2"/>
          <p:cNvGrpSpPr/>
          <p:nvPr userDrawn="1"/>
        </p:nvGrpSpPr>
        <p:grpSpPr>
          <a:xfrm>
            <a:off x="-1" y="0"/>
            <a:ext cx="12202949" cy="6858000"/>
            <a:chOff x="-1" y="0"/>
            <a:chExt cx="12202949" cy="6858000"/>
          </a:xfrm>
        </p:grpSpPr>
        <p:pic>
          <p:nvPicPr>
            <p:cNvPr id="7" name="Picture 6"/>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2" name="Rectangle 1"/>
            <p:cNvSpPr/>
            <p:nvPr userDrawn="1"/>
          </p:nvSpPr>
          <p:spPr bwMode="auto">
            <a:xfrm>
              <a:off x="-1" y="0"/>
              <a:ext cx="12086167" cy="6858000"/>
            </a:xfrm>
            <a:prstGeom prst="rect">
              <a:avLst/>
            </a:prstGeom>
            <a:gradFill flip="none" rotWithShape="1">
              <a:gsLst>
                <a:gs pos="34000">
                  <a:schemeClr val="bg1"/>
                </a:gs>
                <a:gs pos="100000">
                  <a:srgbClr val="FFFFFF">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userDrawn="1">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userDrawn="1">
            <p:ph sz="quarter" idx="10"/>
          </p:nvPr>
        </p:nvSpPr>
        <p:spPr>
          <a:xfrm>
            <a:off x="527050" y="1635804"/>
            <a:ext cx="11043043"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cxnSp>
        <p:nvCxnSpPr>
          <p:cNvPr id="10" name="Straight Connector 9"/>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355297809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cons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9697" y="4972094"/>
            <a:ext cx="1584867" cy="13716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50606" y="4972094"/>
            <a:ext cx="1584867" cy="1371600"/>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28956" y="5009334"/>
            <a:ext cx="1584867" cy="1371600"/>
          </a:xfrm>
          <a:prstGeom prst="rect">
            <a:avLst/>
          </a:prstGeom>
        </p:spPr>
      </p:pic>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94154" y="5009334"/>
            <a:ext cx="1584867" cy="1371600"/>
          </a:xfrm>
          <a:prstGeom prst="rect">
            <a:avLst/>
          </a:prstGeom>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83083" y="5009334"/>
            <a:ext cx="1584867" cy="1371600"/>
          </a:xfrm>
          <a:prstGeom prst="rect">
            <a:avLst/>
          </a:pr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219697" y="3258325"/>
            <a:ext cx="1584867" cy="1371600"/>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24327" y="3258325"/>
            <a:ext cx="1584867" cy="1371600"/>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028957" y="3266124"/>
            <a:ext cx="1584867" cy="1371600"/>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094154" y="3266124"/>
            <a:ext cx="1584867" cy="1371600"/>
          </a:xfrm>
          <a:prstGeom prst="rect">
            <a:avLst/>
          </a:prstGeom>
        </p:spPr>
      </p:pic>
      <p:pic>
        <p:nvPicPr>
          <p:cNvPr id="15" name="Picture 1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98784" y="3266124"/>
            <a:ext cx="1584867" cy="1371600"/>
          </a:xfrm>
          <a:prstGeom prst="rect">
            <a:avLst/>
          </a:prstGeom>
        </p:spPr>
      </p:pic>
      <p:pic>
        <p:nvPicPr>
          <p:cNvPr id="16" name="Picture 15"/>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219697" y="1522914"/>
            <a:ext cx="1584867" cy="1371600"/>
          </a:xfrm>
          <a:prstGeom prst="rect">
            <a:avLst/>
          </a:prstGeom>
        </p:spPr>
      </p:pic>
      <p:pic>
        <p:nvPicPr>
          <p:cNvPr id="17" name="Picture 1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036193" y="1544556"/>
            <a:ext cx="1584867" cy="1371600"/>
          </a:xfrm>
          <a:prstGeom prst="rect">
            <a:avLst/>
          </a:prstGeom>
        </p:spPr>
      </p:pic>
      <p:pic>
        <p:nvPicPr>
          <p:cNvPr id="18" name="Picture 17"/>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5028957" y="1522914"/>
            <a:ext cx="1584867" cy="1371600"/>
          </a:xfrm>
          <a:prstGeom prst="rect">
            <a:avLst/>
          </a:prstGeom>
        </p:spPr>
      </p:pic>
      <p:pic>
        <p:nvPicPr>
          <p:cNvPr id="19" name="Picture 18"/>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006020" y="1522914"/>
            <a:ext cx="1584867" cy="1371600"/>
          </a:xfrm>
          <a:prstGeom prst="rect">
            <a:avLst/>
          </a:prstGeom>
        </p:spPr>
      </p:pic>
      <p:pic>
        <p:nvPicPr>
          <p:cNvPr id="20" name="Picture 19"/>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83083" y="1544556"/>
            <a:ext cx="1584867" cy="1371600"/>
          </a:xfrm>
          <a:prstGeom prst="rect">
            <a:avLst/>
          </a:prstGeom>
        </p:spPr>
      </p:pic>
    </p:spTree>
    <p:extLst>
      <p:ext uri="{BB962C8B-B14F-4D97-AF65-F5344CB8AC3E}">
        <p14:creationId xmlns:p14="http://schemas.microsoft.com/office/powerpoint/2010/main" val="23933337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s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8508" y="1417444"/>
            <a:ext cx="1584867" cy="13716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95756" y="4997107"/>
            <a:ext cx="1584867" cy="1371600"/>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24371" y="5023898"/>
            <a:ext cx="1584867" cy="1371600"/>
          </a:xfrm>
          <a:prstGeom prst="rect">
            <a:avLst/>
          </a:prstGeom>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72413" y="3179186"/>
            <a:ext cx="1584867" cy="1371600"/>
          </a:xfrm>
          <a:prstGeom prst="rect">
            <a:avLst/>
          </a:prstGeom>
        </p:spPr>
      </p:pic>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70547" y="5015602"/>
            <a:ext cx="1584867" cy="1371600"/>
          </a:xfrm>
          <a:prstGeom prst="rect">
            <a:avLst/>
          </a:prstGeom>
        </p:spPr>
      </p:pic>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252986" y="5023898"/>
            <a:ext cx="1584867" cy="1371600"/>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411414" y="5016071"/>
            <a:ext cx="1584867" cy="1371600"/>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69844" y="5015602"/>
            <a:ext cx="1584867" cy="1371600"/>
          </a:xfrm>
          <a:prstGeom prst="rect">
            <a:avLst/>
          </a:prstGeom>
        </p:spPr>
      </p:pic>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124371" y="3179186"/>
            <a:ext cx="1584867" cy="1371600"/>
          </a:xfrm>
          <a:prstGeom prst="rect">
            <a:avLst/>
          </a:prstGeom>
        </p:spPr>
      </p:pic>
      <p:pic>
        <p:nvPicPr>
          <p:cNvPr id="13" name="Picture 1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252985" y="3179186"/>
            <a:ext cx="1584867" cy="1371600"/>
          </a:xfrm>
          <a:prstGeom prst="rect">
            <a:avLst/>
          </a:prstGeom>
        </p:spPr>
      </p:pic>
      <p:pic>
        <p:nvPicPr>
          <p:cNvPr id="14" name="Picture 13"/>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381600" y="3179186"/>
            <a:ext cx="1584867" cy="1371600"/>
          </a:xfrm>
          <a:prstGeom prst="rect">
            <a:avLst/>
          </a:prstGeom>
        </p:spPr>
      </p:pic>
      <p:pic>
        <p:nvPicPr>
          <p:cNvPr id="15" name="Picture 14"/>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970548" y="1431791"/>
            <a:ext cx="1584867" cy="1371600"/>
          </a:xfrm>
          <a:prstGeom prst="rect">
            <a:avLst/>
          </a:prstGeom>
        </p:spPr>
      </p:pic>
      <p:pic>
        <p:nvPicPr>
          <p:cNvPr id="16" name="Picture 15"/>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172414" y="1431791"/>
            <a:ext cx="1584867" cy="1371600"/>
          </a:xfrm>
          <a:prstGeom prst="rect">
            <a:avLst/>
          </a:prstGeom>
        </p:spPr>
      </p:pic>
      <p:pic>
        <p:nvPicPr>
          <p:cNvPr id="17" name="Picture 1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6203368" y="1431791"/>
            <a:ext cx="1584867" cy="1371600"/>
          </a:xfrm>
          <a:prstGeom prst="rect">
            <a:avLst/>
          </a:prstGeom>
        </p:spPr>
      </p:pic>
      <p:pic>
        <p:nvPicPr>
          <p:cNvPr id="18" name="Picture 17"/>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234322" y="1431791"/>
            <a:ext cx="1584867" cy="1371600"/>
          </a:xfrm>
          <a:prstGeom prst="rect">
            <a:avLst/>
          </a:prstGeom>
        </p:spPr>
      </p:pic>
      <p:pic>
        <p:nvPicPr>
          <p:cNvPr id="19" name="Picture 18"/>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411415" y="1431791"/>
            <a:ext cx="1584867" cy="1371600"/>
          </a:xfrm>
          <a:prstGeom prst="rect">
            <a:avLst/>
          </a:prstGeom>
        </p:spPr>
      </p:pic>
    </p:spTree>
    <p:extLst>
      <p:ext uri="{BB962C8B-B14F-4D97-AF65-F5344CB8AC3E}">
        <p14:creationId xmlns:p14="http://schemas.microsoft.com/office/powerpoint/2010/main" val="1104010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spid="_x0000_s3096" name="think-cell Slide" r:id="rId4" imgW="0" imgH="0" progId="TCLayout.ActiveDocument.1">
                  <p:embed/>
                </p:oleObj>
              </mc:Choice>
              <mc:Fallback>
                <p:oleObj name="think-cell Slide" r:id="rId4" imgW="0" imgH="0" progId="TCLayout.ActiveDocument.1">
                  <p:embed/>
                  <p:pic>
                    <p:nvPicPr>
                      <p:cNvPr id="5245" name="Rectangle 12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82" r="7620"/>
          <a:stretch/>
        </p:blipFill>
        <p:spPr bwMode="ltGray">
          <a:xfrm>
            <a:off x="447456" y="320041"/>
            <a:ext cx="11281271" cy="5685205"/>
          </a:xfrm>
          <a:prstGeom prst="rect">
            <a:avLst/>
          </a:prstGeom>
          <a:noFill/>
          <a:ln>
            <a:noFill/>
          </a:ln>
        </p:spPr>
      </p:pic>
      <p:sp>
        <p:nvSpPr>
          <p:cNvPr id="10" name="TextBox 9"/>
          <p:cNvSpPr txBox="1"/>
          <p:nvPr userDrawn="1"/>
        </p:nvSpPr>
        <p:spPr bwMode="gray">
          <a:xfrm>
            <a:off x="436607" y="6227764"/>
            <a:ext cx="10522634" cy="409575"/>
          </a:xfrm>
          <a:prstGeom prst="rect">
            <a:avLst/>
          </a:prstGeom>
          <a:solidFill>
            <a:schemeClr val="bg1"/>
          </a:solidFill>
        </p:spPr>
        <p:txBody>
          <a:bodyPr lIns="0" tIns="0" rIns="0" bIns="0">
            <a:spAutoFit/>
          </a:bodyPr>
          <a:lstStyle/>
          <a:p>
            <a:pPr eaLnBrk="0" hangingPunct="0">
              <a:spcBef>
                <a:spcPts val="0"/>
              </a:spcBef>
              <a:spcAft>
                <a:spcPts val="0"/>
              </a:spcAft>
              <a:defRPr/>
            </a:pPr>
            <a:r>
              <a:rPr lang="en-US" sz="650" dirty="0">
                <a:solidFill>
                  <a:srgbClr val="969696"/>
                </a:solidFill>
                <a:ea typeface="Arial Unicode MS" pitchFamily="34" charset="-128"/>
                <a:cs typeface="Arial Unicode MS" pitchFamily="34" charset="-128"/>
              </a:rPr>
              <a:t>CONFIDENTIAL AND PROPRIETARY</a:t>
            </a:r>
          </a:p>
          <a:p>
            <a:pPr eaLnBrk="0" hangingPunct="0">
              <a:spcBef>
                <a:spcPts val="0"/>
              </a:spcBef>
              <a:spcAft>
                <a:spcPts val="0"/>
              </a:spcAft>
              <a:defRPr/>
            </a:pPr>
            <a:r>
              <a:rPr lang="en-US" sz="650" dirty="0">
                <a:solidFill>
                  <a:srgbClr val="969696"/>
                </a:solidFill>
                <a:ea typeface="Arial Unicode MS" pitchFamily="34" charset="-128"/>
                <a:cs typeface="Arial Unicode MS" pitchFamily="34" charset="-128"/>
              </a:rPr>
              <a:t>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a:t>
            </a:r>
            <a:r>
              <a:rPr lang="en-US" sz="650" dirty="0" smtClean="0">
                <a:solidFill>
                  <a:srgbClr val="969696"/>
                </a:solidFill>
                <a:ea typeface="Arial Unicode MS" pitchFamily="34" charset="-128"/>
                <a:cs typeface="Arial Unicode MS" pitchFamily="34" charset="-128"/>
              </a:rPr>
              <a:t>2018 </a:t>
            </a:r>
            <a:r>
              <a:rPr lang="en-US" sz="650" dirty="0">
                <a:solidFill>
                  <a:srgbClr val="969696"/>
                </a:solidFill>
                <a:ea typeface="Arial Unicode MS" pitchFamily="34" charset="-128"/>
                <a:cs typeface="Arial Unicode MS" pitchFamily="34" charset="-128"/>
              </a:rPr>
              <a:t>Gartner, Inc. and/or its affiliates. </a:t>
            </a:r>
            <a:r>
              <a:rPr lang="en-US" sz="650" dirty="0" smtClean="0">
                <a:solidFill>
                  <a:srgbClr val="969696"/>
                </a:solidFill>
                <a:ea typeface="Arial Unicode MS" pitchFamily="34" charset="-128"/>
                <a:cs typeface="Arial Unicode MS" pitchFamily="34" charset="-128"/>
              </a:rPr>
              <a:t/>
            </a:r>
            <a:br>
              <a:rPr lang="en-US" sz="650" dirty="0" smtClean="0">
                <a:solidFill>
                  <a:srgbClr val="969696"/>
                </a:solidFill>
                <a:ea typeface="Arial Unicode MS" pitchFamily="34" charset="-128"/>
                <a:cs typeface="Arial Unicode MS" pitchFamily="34" charset="-128"/>
              </a:rPr>
            </a:br>
            <a:r>
              <a:rPr lang="en-US" sz="650" dirty="0" smtClean="0">
                <a:solidFill>
                  <a:srgbClr val="969696"/>
                </a:solidFill>
                <a:ea typeface="Arial Unicode MS" pitchFamily="34" charset="-128"/>
                <a:cs typeface="Arial Unicode MS" pitchFamily="34" charset="-128"/>
              </a:rPr>
              <a:t>All </a:t>
            </a:r>
            <a:r>
              <a:rPr lang="en-US" sz="650" dirty="0">
                <a:solidFill>
                  <a:srgbClr val="969696"/>
                </a:solidFill>
                <a:ea typeface="Arial Unicode MS" pitchFamily="34" charset="-128"/>
                <a:cs typeface="Arial Unicode MS" pitchFamily="34" charset="-128"/>
              </a:rPr>
              <a:t>rights reserved.</a:t>
            </a:r>
          </a:p>
        </p:txBody>
      </p:sp>
      <p:sp>
        <p:nvSpPr>
          <p:cNvPr id="13" name="Rectangle 7"/>
          <p:cNvSpPr>
            <a:spLocks noChangeArrowheads="1"/>
          </p:cNvSpPr>
          <p:nvPr userDrawn="1"/>
        </p:nvSpPr>
        <p:spPr bwMode="gray">
          <a:xfrm>
            <a:off x="3471596" y="1771651"/>
            <a:ext cx="7501205" cy="3559175"/>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14" name="Rectangle 122"/>
          <p:cNvSpPr>
            <a:spLocks noGrp="1" noChangeArrowheads="1"/>
          </p:cNvSpPr>
          <p:nvPr>
            <p:ph type="ctrTitle"/>
          </p:nvPr>
        </p:nvSpPr>
        <p:spPr bwMode="auto">
          <a:xfrm>
            <a:off x="3881902" y="2105493"/>
            <a:ext cx="6809702" cy="1274410"/>
          </a:xfrm>
          <a:ln>
            <a:noFill/>
          </a:ln>
        </p:spPr>
        <p:txBody>
          <a:bodyPr tIns="0" bIns="0" anchor="t" anchorCtr="0"/>
          <a:lstStyle>
            <a:lvl1pPr>
              <a:lnSpc>
                <a:spcPct val="100000"/>
              </a:lnSpc>
              <a:defRPr sz="2800" b="1" baseline="0">
                <a:solidFill>
                  <a:schemeClr val="tx1"/>
                </a:solidFill>
                <a:latin typeface="Arial"/>
                <a:cs typeface="Arial"/>
              </a:defRPr>
            </a:lvl1pPr>
          </a:lstStyle>
          <a:p>
            <a:r>
              <a:rPr lang="en-US" smtClean="0"/>
              <a:t>Click to edit Master title style</a:t>
            </a:r>
            <a:endParaRPr lang="en-US" dirty="0"/>
          </a:p>
        </p:txBody>
      </p:sp>
      <p:sp>
        <p:nvSpPr>
          <p:cNvPr id="15" name="Rectangle 223"/>
          <p:cNvSpPr>
            <a:spLocks noGrp="1" noChangeArrowheads="1"/>
          </p:cNvSpPr>
          <p:nvPr>
            <p:ph type="subTitle" idx="1"/>
          </p:nvPr>
        </p:nvSpPr>
        <p:spPr bwMode="auto">
          <a:xfrm>
            <a:off x="3881902" y="3581400"/>
            <a:ext cx="3573296" cy="457200"/>
          </a:xfrm>
          <a:ln/>
        </p:spPr>
        <p:txBody>
          <a:bodyPr/>
          <a:lstStyle>
            <a:lvl1pPr marL="0" indent="0" algn="l">
              <a:lnSpc>
                <a:spcPct val="100000"/>
              </a:lnSpc>
              <a:spcBef>
                <a:spcPts val="0"/>
              </a:spcBef>
              <a:spcAft>
                <a:spcPts val="0"/>
              </a:spcAft>
              <a:buFont typeface="Times" pitchFamily="18" charset="0"/>
              <a:buNone/>
              <a:defRPr sz="1600">
                <a:solidFill>
                  <a:srgbClr val="000000"/>
                </a:solidFill>
              </a:defRPr>
            </a:lvl1pPr>
          </a:lstStyle>
          <a:p>
            <a:r>
              <a:rPr lang="en-US" smtClean="0"/>
              <a:t>Click to edit Master subtitle style</a:t>
            </a:r>
            <a:endParaRPr lang="en-US" dirty="0"/>
          </a:p>
        </p:txBody>
      </p:sp>
      <p:pic>
        <p:nvPicPr>
          <p:cNvPr id="16" name="Picture 8"/>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gray">
          <a:xfrm>
            <a:off x="8005905" y="4441349"/>
            <a:ext cx="2416187" cy="4474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255" name="Text Box 135"/>
          <p:cNvSpPr txBox="1">
            <a:spLocks noChangeArrowheads="1"/>
          </p:cNvSpPr>
          <p:nvPr/>
        </p:nvSpPr>
        <p:spPr bwMode="gray">
          <a:xfrm>
            <a:off x="3881902" y="4734909"/>
            <a:ext cx="2484789" cy="153888"/>
          </a:xfrm>
          <a:prstGeom prst="rect">
            <a:avLst/>
          </a:prstGeom>
          <a:noFill/>
          <a:ln w="12700" algn="ctr">
            <a:noFill/>
            <a:miter lim="800000"/>
            <a:headEnd type="none" w="lg" len="lg"/>
            <a:tailEnd type="none" w="lg" len="lg"/>
          </a:ln>
          <a:effectLst/>
        </p:spPr>
        <p:txBody>
          <a:bodyPr wrap="square" lIns="0" tIns="0" rIns="0" bIns="0">
            <a:spAutoFit/>
          </a:bodyPr>
          <a:lstStyle/>
          <a:p>
            <a:r>
              <a:rPr lang="en-US" sz="1000" b="1" noProof="0" dirty="0" smtClean="0">
                <a:solidFill>
                  <a:srgbClr val="808080"/>
                </a:solidFill>
                <a:latin typeface="+mn-lt"/>
              </a:rPr>
              <a:t>GARTNER CONSULTING</a:t>
            </a:r>
            <a:endParaRPr lang="en-US" sz="1000" b="1" noProof="0" dirty="0">
              <a:solidFill>
                <a:srgbClr val="808080"/>
              </a:solidFill>
              <a:latin typeface="+mn-lt"/>
            </a:endParaRPr>
          </a:p>
        </p:txBody>
      </p:sp>
    </p:spTree>
    <p:extLst>
      <p:ext uri="{BB962C8B-B14F-4D97-AF65-F5344CB8AC3E}">
        <p14:creationId xmlns:p14="http://schemas.microsoft.com/office/powerpoint/2010/main" val="4269968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6" name="Rectangle 5"/>
          <p:cNvSpPr/>
          <p:nvPr userDrawn="1"/>
        </p:nvSpPr>
        <p:spPr>
          <a:xfrm>
            <a:off x="451531" y="417873"/>
            <a:ext cx="11308737" cy="5462229"/>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smtClean="0"/>
          </a:p>
        </p:txBody>
      </p:sp>
      <p:sp>
        <p:nvSpPr>
          <p:cNvPr id="12" name="Rectangle 7"/>
          <p:cNvSpPr>
            <a:spLocks noChangeArrowheads="1"/>
          </p:cNvSpPr>
          <p:nvPr userDrawn="1"/>
        </p:nvSpPr>
        <p:spPr bwMode="gray">
          <a:xfrm>
            <a:off x="853440" y="914400"/>
            <a:ext cx="7778496" cy="2862072"/>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13" name="Text Placeholder 8"/>
          <p:cNvSpPr>
            <a:spLocks noGrp="1"/>
          </p:cNvSpPr>
          <p:nvPr>
            <p:ph type="body" sz="quarter" idx="10"/>
          </p:nvPr>
        </p:nvSpPr>
        <p:spPr bwMode="auto">
          <a:xfrm>
            <a:off x="1304544" y="1234442"/>
            <a:ext cx="6908197" cy="2238949"/>
          </a:xfrm>
        </p:spPr>
        <p:txBody>
          <a:bodyPr anchor="t" anchorCtr="0"/>
          <a:lstStyle>
            <a:lvl1pPr marL="0" indent="0">
              <a:lnSpc>
                <a:spcPct val="100000"/>
              </a:lnSpc>
              <a:spcAft>
                <a:spcPts val="0"/>
              </a:spcAft>
              <a:buNone/>
              <a:defRPr sz="1800" b="1" baseline="0"/>
            </a:lvl1pPr>
            <a:lvl2pPr>
              <a:buClr>
                <a:schemeClr val="accent1"/>
              </a:buClr>
              <a:defRPr/>
            </a:lvl2pPr>
          </a:lstStyle>
          <a:p>
            <a:pPr lvl="0"/>
            <a:r>
              <a:rPr lang="en-US" smtClean="0"/>
              <a:t>Click to edit Master text styles</a:t>
            </a:r>
          </a:p>
        </p:txBody>
      </p:sp>
    </p:spTree>
    <p:extLst>
      <p:ext uri="{BB962C8B-B14F-4D97-AF65-F5344CB8AC3E}">
        <p14:creationId xmlns:p14="http://schemas.microsoft.com/office/powerpoint/2010/main" val="726169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465016" y="1412876"/>
            <a:ext cx="11258062" cy="453707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08942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bwMode="gray"/>
        <p:txBody>
          <a:bodyPr/>
          <a:lstStyle>
            <a:lvl1pPr>
              <a:defRPr>
                <a:solidFill>
                  <a:schemeClr val="accent1"/>
                </a:solidFill>
              </a:defRPr>
            </a:lvl1pPr>
          </a:lstStyle>
          <a:p>
            <a:r>
              <a:rPr lang="en-US" dirty="0" smtClean="0"/>
              <a:t>Click to edit title</a:t>
            </a:r>
            <a:endParaRPr lang="en-US" dirty="0"/>
          </a:p>
        </p:txBody>
      </p:sp>
      <p:sp>
        <p:nvSpPr>
          <p:cNvPr id="6" name="Text Placeholder 5"/>
          <p:cNvSpPr>
            <a:spLocks noGrp="1"/>
          </p:cNvSpPr>
          <p:nvPr>
            <p:ph type="body" sz="quarter" idx="10"/>
          </p:nvPr>
        </p:nvSpPr>
        <p:spPr>
          <a:xfrm>
            <a:off x="465016" y="1412876"/>
            <a:ext cx="5586047"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6183925" y="1412876"/>
            <a:ext cx="5535244"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71717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282928601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8403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WA Tech Cover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9" name="Title 1"/>
          <p:cNvSpPr>
            <a:spLocks noGrp="1"/>
          </p:cNvSpPr>
          <p:nvPr>
            <p:ph type="title" hasCustomPrompt="1"/>
          </p:nvPr>
        </p:nvSpPr>
        <p:spPr bwMode="ltGray">
          <a:xfrm>
            <a:off x="613500" y="2791498"/>
            <a:ext cx="5801359"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7" name="Text Placeholder 4"/>
          <p:cNvSpPr>
            <a:spLocks noGrp="1"/>
          </p:cNvSpPr>
          <p:nvPr>
            <p:ph type="body" sz="quarter" idx="12" hasCustomPrompt="1"/>
          </p:nvPr>
        </p:nvSpPr>
        <p:spPr bwMode="ltGray">
          <a:xfrm>
            <a:off x="612848" y="4779841"/>
            <a:ext cx="5791863"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2" y="786044"/>
            <a:ext cx="3110643" cy="1054235"/>
          </a:xfrm>
          <a:prstGeom prst="rect">
            <a:avLst/>
          </a:prstGeom>
        </p:spPr>
      </p:pic>
      <p:cxnSp>
        <p:nvCxnSpPr>
          <p:cNvPr id="4" name="Straight Connector 3"/>
          <p:cNvCxnSpPr/>
          <p:nvPr userDrawn="1"/>
        </p:nvCxnSpPr>
        <p:spPr>
          <a:xfrm flipH="1">
            <a:off x="0" y="4627606"/>
            <a:ext cx="6533254" cy="0"/>
          </a:xfrm>
          <a:prstGeom prst="line">
            <a:avLst/>
          </a:prstGeom>
          <a:ln w="38100" cmpd="sng">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12830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1041046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20095140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3899872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18972916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16143574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18358740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34986913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344205833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19382191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21835042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 Tech Titl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5849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23C570E-9755-4F99-92B8-39DF0C9CF6D6}" type="datetimeFigureOut">
              <a:rPr lang="en-US" smtClean="0"/>
              <a:t>4/12/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596AF10-57AB-4279-A20F-235A23121560}" type="slidenum">
              <a:rPr lang="en-US" smtClean="0"/>
              <a:t>‹#›</a:t>
            </a:fld>
            <a:endParaRPr lang="en-US" dirty="0"/>
          </a:p>
        </p:txBody>
      </p:sp>
    </p:spTree>
    <p:extLst>
      <p:ext uri="{BB962C8B-B14F-4D97-AF65-F5344CB8AC3E}">
        <p14:creationId xmlns:p14="http://schemas.microsoft.com/office/powerpoint/2010/main" val="208644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 Tech Title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rgbClr val="9313A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20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 Tech Title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2">
                    <a:lumMod val="50000"/>
                  </a:schemeClr>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2">
                    <a:lumMod val="50000"/>
                  </a:schemeClr>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64705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 Tech Title 4">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4428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 Tech Internal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48456"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47803" y="3574512"/>
            <a:ext cx="445907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4167865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3.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6.xml"/><Relationship Id="rId7" Type="http://schemas.openxmlformats.org/officeDocument/2006/relationships/theme" Target="../theme/theme3.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46.tiff"/><Relationship Id="rId5" Type="http://schemas.openxmlformats.org/officeDocument/2006/relationships/slideLayout" Target="../slideLayouts/slideLayout38.xml"/><Relationship Id="rId10" Type="http://schemas.openxmlformats.org/officeDocument/2006/relationships/oleObject" Target="../embeddings/oleObject1.bin"/><Relationship Id="rId4" Type="http://schemas.openxmlformats.org/officeDocument/2006/relationships/slideLayout" Target="../slideLayouts/slideLayout37.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descr="WaTech-FINAL-LOGO-2015.png"/>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29" r:id="rId4"/>
    <p:sldLayoutId id="2147484537" r:id="rId5"/>
    <p:sldLayoutId id="2147484556" r:id="rId6"/>
    <p:sldLayoutId id="2147484558" r:id="rId7"/>
    <p:sldLayoutId id="2147484557" r:id="rId8"/>
    <p:sldLayoutId id="2147484553" r:id="rId9"/>
    <p:sldLayoutId id="2147484554" r:id="rId10"/>
    <p:sldLayoutId id="2147484555" r:id="rId11"/>
    <p:sldLayoutId id="2147484559" r:id="rId12"/>
    <p:sldLayoutId id="2147484561" r:id="rId13"/>
    <p:sldLayoutId id="2147484562" r:id="rId14"/>
    <p:sldLayoutId id="2147484547" r:id="rId15"/>
    <p:sldLayoutId id="2147484480" r:id="rId16"/>
    <p:sldLayoutId id="2147484563" r:id="rId17"/>
    <p:sldLayoutId id="2147484564" r:id="rId18"/>
    <p:sldLayoutId id="2147484565" r:id="rId19"/>
    <p:sldLayoutId id="2147484567" r:id="rId20"/>
    <p:sldLayoutId id="2147484467" r:id="rId21"/>
    <p:sldLayoutId id="2147484581" r:id="rId22"/>
    <p:sldLayoutId id="2147484568" r:id="rId23"/>
    <p:sldLayoutId id="2147484569" r:id="rId24"/>
    <p:sldLayoutId id="2147484544" r:id="rId25"/>
    <p:sldLayoutId id="2147484566" r:id="rId26"/>
    <p:sldLayoutId id="2147484570" r:id="rId27"/>
    <p:sldLayoutId id="2147484582" r:id="rId28"/>
    <p:sldLayoutId id="2147484524" r:id="rId29"/>
    <p:sldLayoutId id="2147484545" r:id="rId30"/>
    <p:sldLayoutId id="2147484549" r:id="rId31"/>
  </p:sldLayoutIdLst>
  <p:transition>
    <p:fade/>
  </p:transition>
  <p:timing>
    <p:tnLst>
      <p:par>
        <p:cTn id="1" dur="indefinite" restart="never" nodeType="tmRoot"/>
      </p:par>
    </p:tnLst>
  </p:timing>
  <p:hf hdr="0" ftr="0" dt="0"/>
  <p:txStyles>
    <p:titleStyle>
      <a:lvl1pPr algn="l" defTabSz="768113" rtl="0" eaLnBrk="1" latinLnBrk="0" hangingPunct="1">
        <a:lnSpc>
          <a:spcPct val="90000"/>
        </a:lnSpc>
        <a:spcBef>
          <a:spcPct val="0"/>
        </a:spcBef>
        <a:buNone/>
        <a:defRPr lang="en-US" sz="3200" b="0" kern="1200" cap="none" spc="-84" baseline="0" dirty="0" smtClean="0">
          <a:ln w="3175">
            <a:noFill/>
          </a:ln>
          <a:solidFill>
            <a:schemeClr val="accent1"/>
          </a:solidFill>
          <a:effectLst/>
          <a:latin typeface="Arial"/>
          <a:ea typeface="+mn-ea"/>
          <a:cs typeface="Arial"/>
        </a:defRPr>
      </a:lvl1pPr>
    </p:titleStyle>
    <p:bodyStyle>
      <a:lvl1pPr marL="0" marR="0" indent="0" algn="l" defTabSz="768113" rtl="0" eaLnBrk="1" fontAlgn="auto" latinLnBrk="0" hangingPunct="1">
        <a:lnSpc>
          <a:spcPct val="90000"/>
        </a:lnSpc>
        <a:spcBef>
          <a:spcPct val="20000"/>
        </a:spcBef>
        <a:spcAft>
          <a:spcPts val="0"/>
        </a:spcAft>
        <a:buClr>
          <a:srgbClr val="E96D1F"/>
        </a:buClr>
        <a:buSzPct val="100000"/>
        <a:buFont typeface="Arial"/>
        <a:buNone/>
        <a:tabLst/>
        <a:defRPr sz="2800" kern="1200" spc="0" baseline="0">
          <a:solidFill>
            <a:schemeClr val="tx1">
              <a:lumMod val="75000"/>
            </a:schemeClr>
          </a:solidFill>
          <a:latin typeface="Calibri"/>
          <a:ea typeface="+mn-ea"/>
          <a:cs typeface="Calibri"/>
        </a:defRPr>
      </a:lvl1pPr>
      <a:lvl2pPr marL="481089" marR="0" indent="-198711"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400" kern="1200" spc="0" baseline="0">
          <a:solidFill>
            <a:schemeClr val="tx1">
              <a:lumMod val="75000"/>
            </a:schemeClr>
          </a:solidFill>
          <a:latin typeface="Calibri"/>
          <a:ea typeface="+mn-ea"/>
          <a:cs typeface="Calibri"/>
        </a:defRPr>
      </a:lvl2pPr>
      <a:lvl3pPr marL="658882"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000" kern="1200" spc="0" baseline="0">
          <a:solidFill>
            <a:schemeClr val="tx1">
              <a:lumMod val="75000"/>
            </a:schemeClr>
          </a:solidFill>
          <a:latin typeface="Calibri"/>
          <a:ea typeface="+mn-ea"/>
          <a:cs typeface="Calibri"/>
        </a:defRPr>
      </a:lvl3pPr>
      <a:lvl4pPr marL="847134"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800" kern="1200" spc="0" baseline="0">
          <a:solidFill>
            <a:schemeClr val="tx1">
              <a:lumMod val="75000"/>
            </a:schemeClr>
          </a:solidFill>
          <a:latin typeface="Calibri"/>
          <a:ea typeface="+mn-ea"/>
          <a:cs typeface="Calibri"/>
        </a:defRPr>
      </a:lvl4pPr>
      <a:lvl5pPr marL="1035387"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600" kern="1200" spc="0" baseline="0">
          <a:solidFill>
            <a:schemeClr val="tx1">
              <a:lumMod val="75000"/>
            </a:schemeClr>
          </a:solidFill>
          <a:latin typeface="Calibri"/>
          <a:ea typeface="+mn-ea"/>
          <a:cs typeface="Calibri"/>
        </a:defRPr>
      </a:lvl5pPr>
      <a:lvl6pPr marL="2112310"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6368"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80424"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64482"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 Placeholder 2"/>
          <p:cNvSpPr txBox="1">
            <a:spLocks/>
          </p:cNvSpPr>
          <p:nvPr userDrawn="1"/>
        </p:nvSpPr>
        <p:spPr>
          <a:xfrm>
            <a:off x="966788" y="303213"/>
            <a:ext cx="9590087" cy="977900"/>
          </a:xfrm>
          <a:prstGeom prst="rect">
            <a:avLst/>
          </a:prstGeom>
          <a:ln>
            <a:solidFill>
              <a:schemeClr val="bg1"/>
            </a:solidFill>
          </a:ln>
        </p:spPr>
        <p:txBody>
          <a:bodyPr vert="horz"/>
          <a:lstStyle>
            <a:lvl1pPr marL="0" indent="0" algn="l" defTabSz="457200" rtl="0" eaLnBrk="1" latinLnBrk="0" hangingPunct="1">
              <a:spcBef>
                <a:spcPct val="20000"/>
              </a:spcBef>
              <a:buFont typeface="Arial"/>
              <a:buNone/>
              <a:defRPr sz="2000" kern="1200" baseline="0">
                <a:solidFill>
                  <a:srgbClr val="0C3A69"/>
                </a:solidFill>
                <a:latin typeface="Arial"/>
                <a:ea typeface="+mn-ea"/>
                <a:cs typeface="Arial"/>
              </a:defRPr>
            </a:lvl1pPr>
            <a:lvl2pPr marL="457200" indent="0" algn="l" defTabSz="457200" rtl="0" eaLnBrk="1" latinLnBrk="0" hangingPunct="1">
              <a:spcBef>
                <a:spcPct val="20000"/>
              </a:spcBef>
              <a:buFont typeface="Arial"/>
              <a:buNone/>
              <a:defRPr sz="2000" kern="1200">
                <a:solidFill>
                  <a:srgbClr val="0C3A69"/>
                </a:solidFill>
                <a:latin typeface="Arial"/>
                <a:ea typeface="+mn-ea"/>
                <a:cs typeface="Arial"/>
              </a:defRPr>
            </a:lvl2pPr>
            <a:lvl3pPr marL="914400" indent="0" algn="l" defTabSz="457200" rtl="0" eaLnBrk="1" latinLnBrk="0" hangingPunct="1">
              <a:spcBef>
                <a:spcPct val="20000"/>
              </a:spcBef>
              <a:buFont typeface="Arial"/>
              <a:buNone/>
              <a:defRPr sz="2000" kern="1200">
                <a:solidFill>
                  <a:srgbClr val="0C3A69"/>
                </a:solidFill>
                <a:latin typeface="Arial"/>
                <a:ea typeface="+mn-ea"/>
                <a:cs typeface="Arial"/>
              </a:defRPr>
            </a:lvl3pPr>
            <a:lvl4pPr marL="1371600" indent="0" algn="l" defTabSz="457200" rtl="0" eaLnBrk="1" latinLnBrk="0" hangingPunct="1">
              <a:spcBef>
                <a:spcPct val="20000"/>
              </a:spcBef>
              <a:buFont typeface="Arial"/>
              <a:buNone/>
              <a:defRPr sz="2000" kern="1200">
                <a:solidFill>
                  <a:srgbClr val="0C3A69"/>
                </a:solidFill>
                <a:latin typeface="Arial"/>
                <a:ea typeface="+mn-ea"/>
                <a:cs typeface="Arial"/>
              </a:defRPr>
            </a:lvl4pPr>
            <a:lvl5pPr marL="1828800" indent="0" algn="l" defTabSz="457200" rtl="0" eaLnBrk="1" latinLnBrk="0" hangingPunct="1">
              <a:spcBef>
                <a:spcPct val="20000"/>
              </a:spcBef>
              <a:buFont typeface="Arial"/>
              <a:buNone/>
              <a:defRPr sz="2000" kern="1200">
                <a:solidFill>
                  <a:srgbClr val="0C3A6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mtClean="0"/>
              <a:t>To use these icons, go to the Master Slide and copy &amp; paste the ones that you need into your presentation</a:t>
            </a:r>
            <a:endParaRPr lang="en-US" dirty="0"/>
          </a:p>
        </p:txBody>
      </p:sp>
    </p:spTree>
    <p:extLst>
      <p:ext uri="{BB962C8B-B14F-4D97-AF65-F5344CB8AC3E}">
        <p14:creationId xmlns:p14="http://schemas.microsoft.com/office/powerpoint/2010/main" val="563949590"/>
      </p:ext>
    </p:extLst>
  </p:cSld>
  <p:clrMap bg1="lt1" tx1="dk1" bg2="lt2" tx2="dk2" accent1="accent1" accent2="accent2" accent3="accent3" accent4="accent4" accent5="accent5" accent6="accent6" hlink="hlink" folHlink="folHlink"/>
  <p:sldLayoutIdLst>
    <p:sldLayoutId id="2147484579" r:id="rId1"/>
    <p:sldLayoutId id="2147484580" r:id="rId2"/>
  </p:sldLayoutIdLst>
  <p:txStyles>
    <p:titleStyle>
      <a:lvl1pPr algn="ctr" defTabSz="457200" rtl="0" eaLnBrk="1" latinLnBrk="0" hangingPunct="1">
        <a:spcBef>
          <a:spcPct val="0"/>
        </a:spcBef>
        <a:buNone/>
        <a:defRPr sz="4400" kern="1200">
          <a:solidFill>
            <a:srgbClr val="0C3A69"/>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9"/>
            </p:custDataLst>
            <p:ext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spid="_x0000_s2072" name="think-cell Slide" r:id="rId10" imgW="0" imgH="0" progId="TCLayout.ActiveDocument.1">
                  <p:embed/>
                </p:oleObj>
              </mc:Choice>
              <mc:Fallback>
                <p:oleObj name="think-cell Slide" r:id="rId10" imgW="0" imgH="0" progId="TCLayout.ActiveDocument.1">
                  <p:embed/>
                  <p:pic>
                    <p:nvPicPr>
                      <p:cNvPr id="1248" name="Rectangle 2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465016" y="428475"/>
            <a:ext cx="11254153"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dirty="0" smtClean="0"/>
              <a:t>Click to edit title</a:t>
            </a:r>
          </a:p>
        </p:txBody>
      </p:sp>
      <p:cxnSp>
        <p:nvCxnSpPr>
          <p:cNvPr id="25" name="Straight Connector 24"/>
          <p:cNvCxnSpPr/>
          <p:nvPr/>
        </p:nvCxnSpPr>
        <p:spPr bwMode="gray">
          <a:xfrm>
            <a:off x="465015" y="1033272"/>
            <a:ext cx="11254154" cy="1588"/>
          </a:xfrm>
          <a:prstGeom prst="line">
            <a:avLst/>
          </a:prstGeom>
          <a:noFill/>
          <a:ln w="12700">
            <a:solidFill>
              <a:schemeClr val="accent1"/>
            </a:solidFill>
            <a:round/>
            <a:headEnd type="none" w="lg" len="lg"/>
            <a:tailEnd type="none" w="lg" len="lg"/>
          </a:ln>
          <a:effectLst/>
        </p:spPr>
      </p:cxnSp>
      <p:sp>
        <p:nvSpPr>
          <p:cNvPr id="3" name="Text Placeholder 2"/>
          <p:cNvSpPr>
            <a:spLocks noGrp="1"/>
          </p:cNvSpPr>
          <p:nvPr>
            <p:ph type="body" idx="1"/>
          </p:nvPr>
        </p:nvSpPr>
        <p:spPr>
          <a:xfrm>
            <a:off x="465014" y="1412876"/>
            <a:ext cx="11254154"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pic>
        <p:nvPicPr>
          <p:cNvPr id="19" name="Picture 18" descr="Gartner_Sm_Blu_CMYK.tif"/>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988271" y="6074664"/>
            <a:ext cx="2037002" cy="783336"/>
          </a:xfrm>
          <a:prstGeom prst="rect">
            <a:avLst/>
          </a:prstGeom>
        </p:spPr>
      </p:pic>
      <p:sp>
        <p:nvSpPr>
          <p:cNvPr id="10" name="TextBox 5"/>
          <p:cNvSpPr txBox="1">
            <a:spLocks noChangeArrowheads="1"/>
          </p:cNvSpPr>
          <p:nvPr userDrawn="1"/>
        </p:nvSpPr>
        <p:spPr bwMode="auto">
          <a:xfrm>
            <a:off x="482483" y="6530976"/>
            <a:ext cx="5677877" cy="98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nchorCtr="0">
            <a:noAutofit/>
          </a:bodyPr>
          <a:lstStyle>
            <a:lvl1pPr algn="ctr" eaLnBrk="0" hangingPunct="0">
              <a:lnSpc>
                <a:spcPct val="90000"/>
              </a:lnSpc>
              <a:spcBef>
                <a:spcPct val="30000"/>
              </a:spcBef>
              <a:spcAft>
                <a:spcPct val="10000"/>
              </a:spcAft>
              <a:defRPr sz="2400">
                <a:solidFill>
                  <a:schemeClr val="tx1"/>
                </a:solidFill>
                <a:latin typeface="Arial" charset="0"/>
                <a:ea typeface="ＭＳ Ｐゴシック" charset="0"/>
                <a:cs typeface="Arial Unicode MS" charset="0"/>
              </a:defRPr>
            </a:lvl1pPr>
            <a:lvl2pPr marL="742950" indent="-28575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2pPr>
            <a:lvl3pPr marL="11430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3pPr>
            <a:lvl4pPr marL="16002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4pPr>
            <a:lvl5pPr marL="20574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5pPr>
            <a:lvl6pPr marL="25146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6pPr>
            <a:lvl7pPr marL="29718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7pPr>
            <a:lvl8pPr marL="34290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8pPr>
            <a:lvl9pPr marL="38862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9pPr>
          </a:lstStyle>
          <a:p>
            <a:pPr algn="l">
              <a:spcBef>
                <a:spcPts val="600"/>
              </a:spcBef>
              <a:spcAft>
                <a:spcPts val="0"/>
              </a:spcAft>
              <a:tabLst>
                <a:tab pos="228600" algn="l"/>
              </a:tabLst>
              <a:defRPr/>
            </a:pPr>
            <a:fld id="{EF6F4F67-0963-4E47-9111-245E41CF1778}" type="slidenum">
              <a:rPr lang="en-US" sz="700" smtClean="0"/>
              <a:pPr algn="l">
                <a:spcBef>
                  <a:spcPts val="600"/>
                </a:spcBef>
                <a:spcAft>
                  <a:spcPts val="0"/>
                </a:spcAft>
                <a:tabLst>
                  <a:tab pos="228600" algn="l"/>
                </a:tabLst>
                <a:defRPr/>
              </a:pPr>
              <a:t>‹#›</a:t>
            </a:fld>
            <a:r>
              <a:rPr lang="en-US" sz="700" dirty="0" smtClean="0"/>
              <a:t>	CONFIDENTIAL AND PROPRIETARY I © 2018 Gartner, Inc. and/or its affiliates. All rights reserved.</a:t>
            </a:r>
          </a:p>
        </p:txBody>
      </p:sp>
    </p:spTree>
    <p:extLst>
      <p:ext uri="{BB962C8B-B14F-4D97-AF65-F5344CB8AC3E}">
        <p14:creationId xmlns:p14="http://schemas.microsoft.com/office/powerpoint/2010/main" val="4006273364"/>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3C570E-9755-4F99-92B8-39DF0C9CF6D6}" type="datetimeFigureOut">
              <a:rPr lang="en-US" smtClean="0"/>
              <a:t>4/12/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96AF10-57AB-4279-A20F-235A23121560}" type="slidenum">
              <a:rPr lang="en-US" smtClean="0"/>
              <a:t>‹#›</a:t>
            </a:fld>
            <a:endParaRPr lang="en-US" dirty="0"/>
          </a:p>
        </p:txBody>
      </p:sp>
    </p:spTree>
    <p:extLst>
      <p:ext uri="{BB962C8B-B14F-4D97-AF65-F5344CB8AC3E}">
        <p14:creationId xmlns:p14="http://schemas.microsoft.com/office/powerpoint/2010/main" val="3854681211"/>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4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xml"/><Relationship Id="rId1" Type="http://schemas.openxmlformats.org/officeDocument/2006/relationships/slideLayout" Target="../slideLayouts/slideLayout4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CIO Forum</a:t>
            </a:r>
            <a:endParaRPr lang="en-US" dirty="0"/>
          </a:p>
        </p:txBody>
      </p:sp>
      <p:sp>
        <p:nvSpPr>
          <p:cNvPr id="9" name="Text Placeholder 8"/>
          <p:cNvSpPr>
            <a:spLocks noGrp="1"/>
          </p:cNvSpPr>
          <p:nvPr>
            <p:ph type="body" sz="quarter" idx="12"/>
          </p:nvPr>
        </p:nvSpPr>
        <p:spPr/>
        <p:txBody>
          <a:bodyPr/>
          <a:lstStyle/>
          <a:p>
            <a:r>
              <a:rPr lang="en-US" dirty="0" smtClean="0"/>
              <a:t>April 10</a:t>
            </a:r>
            <a:r>
              <a:rPr lang="en-US" baseline="30000" dirty="0" smtClean="0"/>
              <a:t>th</a:t>
            </a:r>
            <a:r>
              <a:rPr lang="en-US" dirty="0" smtClean="0"/>
              <a:t>, 2018</a:t>
            </a:r>
            <a:endParaRPr lang="en-US" dirty="0"/>
          </a:p>
        </p:txBody>
      </p:sp>
    </p:spTree>
    <p:extLst>
      <p:ext uri="{BB962C8B-B14F-4D97-AF65-F5344CB8AC3E}">
        <p14:creationId xmlns:p14="http://schemas.microsoft.com/office/powerpoint/2010/main" val="1586037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ology Pool</a:t>
            </a:r>
            <a:endParaRPr lang="en-US" dirty="0"/>
          </a:p>
        </p:txBody>
      </p:sp>
      <p:sp>
        <p:nvSpPr>
          <p:cNvPr id="3" name="Content Placeholder 2"/>
          <p:cNvSpPr>
            <a:spLocks noGrp="1"/>
          </p:cNvSpPr>
          <p:nvPr>
            <p:ph idx="1"/>
          </p:nvPr>
        </p:nvSpPr>
        <p:spPr/>
        <p:txBody>
          <a:bodyPr/>
          <a:lstStyle/>
          <a:p>
            <a:r>
              <a:rPr lang="en-US" dirty="0" smtClean="0"/>
              <a:t>10 projects added in supplemental budget</a:t>
            </a:r>
          </a:p>
          <a:p>
            <a:r>
              <a:rPr lang="en-US" dirty="0" smtClean="0"/>
              <a:t>Agency Director memo to go out soon with instructions</a:t>
            </a:r>
          </a:p>
          <a:p>
            <a:pPr lvl="1"/>
            <a:r>
              <a:rPr lang="en-US" dirty="0" smtClean="0"/>
              <a:t>Will only go to impacted agencies</a:t>
            </a:r>
            <a:endParaRPr lang="en-US" dirty="0"/>
          </a:p>
          <a:p>
            <a:pPr lvl="1"/>
            <a:r>
              <a:rPr lang="en-US" dirty="0" smtClean="0"/>
              <a:t>Agencies can initiate contact sooner if needed</a:t>
            </a:r>
            <a:endParaRPr lang="en-US" dirty="0"/>
          </a:p>
        </p:txBody>
      </p:sp>
    </p:spTree>
    <p:extLst>
      <p:ext uri="{BB962C8B-B14F-4D97-AF65-F5344CB8AC3E}">
        <p14:creationId xmlns:p14="http://schemas.microsoft.com/office/powerpoint/2010/main" val="36291663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cision Package Prioritization Process</a:t>
            </a:r>
            <a:endParaRPr lang="en-US"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FE56DA-EEDD-4BC4-AC61-3FB58E333C0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tint val="75000"/>
                  </a:prstClr>
                </a:solidFill>
                <a:effectLst/>
                <a:uLnTx/>
                <a:uFillTx/>
                <a:latin typeface="Calibri" panose="020F0502020204030204"/>
                <a:ea typeface="+mn-ea"/>
                <a:cs typeface="+mn-cs"/>
              </a:rPr>
              <a:t>April 16, 2018</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aphicFrame>
        <p:nvGraphicFramePr>
          <p:cNvPr id="5" name="Diagram 4"/>
          <p:cNvGraphicFramePr/>
          <p:nvPr>
            <p:extLst/>
          </p:nvPr>
        </p:nvGraphicFramePr>
        <p:xfrm>
          <a:off x="2031999" y="719666"/>
          <a:ext cx="9402120" cy="57140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Up Arrow 5"/>
          <p:cNvSpPr/>
          <p:nvPr/>
        </p:nvSpPr>
        <p:spPr>
          <a:xfrm rot="8815401">
            <a:off x="2892860" y="3130836"/>
            <a:ext cx="484632" cy="97840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05360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1631607" y="1351004"/>
          <a:ext cx="7800718" cy="53710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en-US" dirty="0" smtClean="0"/>
              <a:t>Policy Calendar Update (as of 4/10/2018)</a:t>
            </a:r>
            <a:endParaRPr lang="en-US" dirty="0"/>
          </a:p>
        </p:txBody>
      </p:sp>
    </p:spTree>
    <p:extLst>
      <p:ext uri="{BB962C8B-B14F-4D97-AF65-F5344CB8AC3E}">
        <p14:creationId xmlns:p14="http://schemas.microsoft.com/office/powerpoint/2010/main" val="1888750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Go-Lives – Recent and Near Term</a:t>
            </a:r>
            <a:endParaRPr lang="en-US" dirty="0"/>
          </a:p>
        </p:txBody>
      </p:sp>
      <p:graphicFrame>
        <p:nvGraphicFramePr>
          <p:cNvPr id="6" name="Content Placeholder 5"/>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FE56DA-EEDD-4BC4-AC61-3FB58E333C0F}"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Date Placeholder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prstClr val="black">
                    <a:tint val="75000"/>
                  </a:prstClr>
                </a:solidFill>
                <a:effectLst/>
                <a:uLnTx/>
                <a:uFillTx/>
                <a:latin typeface="Calibri" panose="020F0502020204030204"/>
                <a:ea typeface="+mn-ea"/>
                <a:cs typeface="+mn-cs"/>
              </a:rPr>
              <a:t>April 16, 2018</a:t>
            </a:r>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5275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ads Up Items</a:t>
            </a:r>
            <a:endParaRPr lang="en-US" dirty="0"/>
          </a:p>
        </p:txBody>
      </p:sp>
    </p:spTree>
    <p:extLst>
      <p:ext uri="{BB962C8B-B14F-4D97-AF65-F5344CB8AC3E}">
        <p14:creationId xmlns:p14="http://schemas.microsoft.com/office/powerpoint/2010/main" val="1423629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Tech Customer Satisfaction Survey	</a:t>
            </a:r>
            <a:endParaRPr lang="en-US" dirty="0"/>
          </a:p>
        </p:txBody>
      </p:sp>
      <p:sp>
        <p:nvSpPr>
          <p:cNvPr id="3" name="Text Placeholder 2"/>
          <p:cNvSpPr>
            <a:spLocks noGrp="1"/>
          </p:cNvSpPr>
          <p:nvPr>
            <p:ph type="body" sz="quarter" idx="12"/>
          </p:nvPr>
        </p:nvSpPr>
        <p:spPr/>
        <p:txBody>
          <a:bodyPr/>
          <a:lstStyle/>
          <a:p>
            <a:r>
              <a:rPr lang="en-US" dirty="0" smtClean="0"/>
              <a:t>Matt Bailey, WaTech</a:t>
            </a:r>
            <a:endParaRPr lang="en-US" dirty="0"/>
          </a:p>
        </p:txBody>
      </p:sp>
    </p:spTree>
    <p:extLst>
      <p:ext uri="{BB962C8B-B14F-4D97-AF65-F5344CB8AC3E}">
        <p14:creationId xmlns:p14="http://schemas.microsoft.com/office/powerpoint/2010/main" val="5216565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5838092"/>
            <a:ext cx="12192000" cy="10199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1" name="Rectangle 10"/>
          <p:cNvSpPr/>
          <p:nvPr/>
        </p:nvSpPr>
        <p:spPr bwMode="auto">
          <a:xfrm>
            <a:off x="4663440" y="1378425"/>
            <a:ext cx="7346211" cy="498081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WaTech Customer Satisfaction Survey</a:t>
            </a:r>
            <a:endParaRPr lang="en-US" dirty="0"/>
          </a:p>
        </p:txBody>
      </p:sp>
      <p:sp>
        <p:nvSpPr>
          <p:cNvPr id="4" name="TextBox 3"/>
          <p:cNvSpPr txBox="1"/>
          <p:nvPr/>
        </p:nvSpPr>
        <p:spPr>
          <a:xfrm>
            <a:off x="211204" y="1810697"/>
            <a:ext cx="4562443"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Mid-Way Through</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83 Customers Contacted </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lang="en-US" sz="2800" spc="-70" dirty="0" smtClean="0">
                <a:solidFill>
                  <a:srgbClr val="000000"/>
                </a:solidFill>
                <a:latin typeface="Arial"/>
              </a:rPr>
              <a:t>68</a:t>
            </a: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 Interviews Scheduled</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lang="en-US" sz="2800" spc="-70" dirty="0" smtClean="0">
                <a:solidFill>
                  <a:srgbClr val="000000"/>
                </a:solidFill>
                <a:latin typeface="Arial"/>
              </a:rPr>
              <a:t>32</a:t>
            </a: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 Complete</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Interviews Complete 4/20</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Results End Of May</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28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5" name="TextBox 4"/>
          <p:cNvSpPr txBox="1"/>
          <p:nvPr/>
        </p:nvSpPr>
        <p:spPr>
          <a:xfrm>
            <a:off x="4626580" y="1328409"/>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C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G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O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P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R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TG</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BT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BVFFRO</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A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F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H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JT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OM</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O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RA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p:txBody>
      </p:sp>
      <p:sp>
        <p:nvSpPr>
          <p:cNvPr id="8" name="TextBox 7"/>
          <p:cNvSpPr txBox="1"/>
          <p:nvPr/>
        </p:nvSpPr>
        <p:spPr>
          <a:xfrm>
            <a:off x="5810615" y="1328409"/>
            <a:ext cx="1302311"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AH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EL</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E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F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FW</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N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H</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R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V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9" name="TextBox 8"/>
          <p:cNvSpPr txBox="1"/>
          <p:nvPr/>
        </p:nvSpPr>
        <p:spPr>
          <a:xfrm>
            <a:off x="6729905" y="1328409"/>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CY</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LUHO</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RF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SD</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WU</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FMSIB</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GM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GOV</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C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R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UM</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IN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JL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KING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amp;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10" name="TextBox 9"/>
          <p:cNvSpPr txBox="1"/>
          <p:nvPr/>
        </p:nvSpPr>
        <p:spPr>
          <a:xfrm>
            <a:off x="7718150" y="1328409"/>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C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EOFF</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O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MI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AH</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CLA</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OFM</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OMWBE</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OS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PARK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PD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ER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LI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S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RCF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12" name="TextBox 11"/>
          <p:cNvSpPr txBox="1"/>
          <p:nvPr/>
        </p:nvSpPr>
        <p:spPr>
          <a:xfrm>
            <a:off x="8848254" y="1328409"/>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A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AO</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BCT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C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D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EC</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I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P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T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TES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TI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UT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WFTEC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WH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WS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13" name="TextBox 12"/>
          <p:cNvSpPr txBox="1"/>
          <p:nvPr/>
        </p:nvSpPr>
        <p:spPr>
          <a:xfrm>
            <a:off x="9925396" y="1328409"/>
            <a:ext cx="2121115"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WSTI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ALTS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BH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C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ESA+DC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DV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JR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TSD</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3918471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harePoint and Cloud Highway	</a:t>
            </a:r>
            <a:endParaRPr lang="en-US" dirty="0"/>
          </a:p>
        </p:txBody>
      </p:sp>
      <p:sp>
        <p:nvSpPr>
          <p:cNvPr id="5" name="Text Placeholder 4"/>
          <p:cNvSpPr>
            <a:spLocks noGrp="1"/>
          </p:cNvSpPr>
          <p:nvPr>
            <p:ph type="body" sz="quarter" idx="12"/>
          </p:nvPr>
        </p:nvSpPr>
        <p:spPr/>
        <p:txBody>
          <a:bodyPr/>
          <a:lstStyle/>
          <a:p>
            <a:r>
              <a:rPr lang="en-US" dirty="0" smtClean="0"/>
              <a:t>Scott West</a:t>
            </a:r>
            <a:endParaRPr lang="en-US" dirty="0"/>
          </a:p>
        </p:txBody>
      </p:sp>
    </p:spTree>
    <p:extLst>
      <p:ext uri="{BB962C8B-B14F-4D97-AF65-F5344CB8AC3E}">
        <p14:creationId xmlns:p14="http://schemas.microsoft.com/office/powerpoint/2010/main" val="35795711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change 2016	</a:t>
            </a:r>
            <a:endParaRPr lang="en-US" dirty="0"/>
          </a:p>
        </p:txBody>
      </p:sp>
      <p:sp>
        <p:nvSpPr>
          <p:cNvPr id="5" name="Text Placeholder 4"/>
          <p:cNvSpPr>
            <a:spLocks noGrp="1"/>
          </p:cNvSpPr>
          <p:nvPr>
            <p:ph type="body" sz="quarter" idx="12"/>
          </p:nvPr>
        </p:nvSpPr>
        <p:spPr/>
        <p:txBody>
          <a:bodyPr/>
          <a:lstStyle/>
          <a:p>
            <a:r>
              <a:rPr lang="en-US" dirty="0" smtClean="0"/>
              <a:t>Lance Calisch</a:t>
            </a:r>
            <a:endParaRPr lang="en-US" dirty="0"/>
          </a:p>
        </p:txBody>
      </p:sp>
    </p:spTree>
    <p:extLst>
      <p:ext uri="{BB962C8B-B14F-4D97-AF65-F5344CB8AC3E}">
        <p14:creationId xmlns:p14="http://schemas.microsoft.com/office/powerpoint/2010/main" val="5090606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ound Table Discussion</a:t>
            </a:r>
            <a:endParaRPr lang="en-US" dirty="0"/>
          </a:p>
        </p:txBody>
      </p:sp>
      <p:sp>
        <p:nvSpPr>
          <p:cNvPr id="5" name="Text Placeholder 4"/>
          <p:cNvSpPr>
            <a:spLocks noGrp="1"/>
          </p:cNvSpPr>
          <p:nvPr>
            <p:ph type="body" sz="quarter" idx="12"/>
          </p:nvPr>
        </p:nvSpPr>
        <p:spPr/>
        <p:txBody>
          <a:bodyPr/>
          <a:lstStyle/>
          <a:p>
            <a:r>
              <a:rPr lang="en-US" dirty="0" smtClean="0"/>
              <a:t>Strategic Initiatives </a:t>
            </a:r>
          </a:p>
          <a:p>
            <a:r>
              <a:rPr lang="en-US" dirty="0" smtClean="0"/>
              <a:t>DP </a:t>
            </a:r>
            <a:r>
              <a:rPr lang="en-US" dirty="0" err="1" smtClean="0"/>
              <a:t>Wishlist</a:t>
            </a:r>
            <a:endParaRPr lang="en-US" dirty="0"/>
          </a:p>
        </p:txBody>
      </p:sp>
    </p:spTree>
    <p:extLst>
      <p:ext uri="{BB962C8B-B14F-4D97-AF65-F5344CB8AC3E}">
        <p14:creationId xmlns:p14="http://schemas.microsoft.com/office/powerpoint/2010/main" val="2022129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9381" y="1774168"/>
            <a:ext cx="4367854" cy="1153291"/>
          </a:xfrm>
        </p:spPr>
        <p:txBody>
          <a:bodyPr/>
          <a:lstStyle/>
          <a:p>
            <a:r>
              <a:rPr lang="en-US" sz="2800" dirty="0" smtClean="0"/>
              <a:t>CIO Forum Vision Discussion</a:t>
            </a:r>
            <a:endParaRPr lang="en-US" sz="2800" dirty="0"/>
          </a:p>
        </p:txBody>
      </p:sp>
      <p:sp>
        <p:nvSpPr>
          <p:cNvPr id="5" name="Text Placeholder 4"/>
          <p:cNvSpPr>
            <a:spLocks noGrp="1"/>
          </p:cNvSpPr>
          <p:nvPr>
            <p:ph type="body" sz="quarter" idx="12"/>
          </p:nvPr>
        </p:nvSpPr>
        <p:spPr>
          <a:xfrm>
            <a:off x="719381" y="2998480"/>
            <a:ext cx="4357558" cy="751761"/>
          </a:xfrm>
        </p:spPr>
        <p:txBody>
          <a:bodyPr/>
          <a:lstStyle/>
          <a:p>
            <a:r>
              <a:rPr lang="en-US" dirty="0" smtClean="0"/>
              <a:t>Matt Bailey, WaTech</a:t>
            </a:r>
          </a:p>
          <a:p>
            <a:r>
              <a:rPr lang="en-US" dirty="0" smtClean="0"/>
              <a:t>Baird Miller, ECY</a:t>
            </a:r>
          </a:p>
          <a:p>
            <a:r>
              <a:rPr lang="en-US" dirty="0" smtClean="0"/>
              <a:t>Cynthia Forland, ESD</a:t>
            </a:r>
            <a:endParaRPr lang="en-US" dirty="0"/>
          </a:p>
        </p:txBody>
      </p:sp>
    </p:spTree>
    <p:extLst>
      <p:ext uri="{BB962C8B-B14F-4D97-AF65-F5344CB8AC3E}">
        <p14:creationId xmlns:p14="http://schemas.microsoft.com/office/powerpoint/2010/main" val="1864064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od of the Order Updates, Questions, Answers, Agenda Ideas</a:t>
            </a:r>
            <a:endParaRPr lang="en-US" dirty="0"/>
          </a:p>
        </p:txBody>
      </p:sp>
    </p:spTree>
    <p:extLst>
      <p:ext uri="{BB962C8B-B14F-4D97-AF65-F5344CB8AC3E}">
        <p14:creationId xmlns:p14="http://schemas.microsoft.com/office/powerpoint/2010/main" val="4005320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hanges to the CIO Forum</a:t>
            </a:r>
            <a:endParaRPr lang="en-US" dirty="0"/>
          </a:p>
        </p:txBody>
      </p:sp>
      <p:sp>
        <p:nvSpPr>
          <p:cNvPr id="5" name="Content Placeholder 4"/>
          <p:cNvSpPr>
            <a:spLocks noGrp="1"/>
          </p:cNvSpPr>
          <p:nvPr>
            <p:ph sz="quarter" idx="10"/>
          </p:nvPr>
        </p:nvSpPr>
        <p:spPr/>
        <p:txBody>
          <a:bodyPr/>
          <a:lstStyle/>
          <a:p>
            <a:r>
              <a:rPr lang="en-US" b="1" u="sng" dirty="0" smtClean="0"/>
              <a:t>Short Term Changes</a:t>
            </a:r>
          </a:p>
          <a:p>
            <a:pPr marL="342900" indent="-342900">
              <a:buFont typeface="Arial" panose="020B0604020202020204" pitchFamily="34" charset="0"/>
              <a:buChar char="•"/>
            </a:pPr>
            <a:r>
              <a:rPr lang="en-US" dirty="0" smtClean="0"/>
              <a:t>Room layout</a:t>
            </a:r>
          </a:p>
          <a:p>
            <a:pPr marL="342900" indent="-342900">
              <a:buFont typeface="Arial" panose="020B0604020202020204" pitchFamily="34" charset="0"/>
              <a:buChar char="•"/>
            </a:pPr>
            <a:r>
              <a:rPr lang="en-US" dirty="0" smtClean="0"/>
              <a:t>Name tents</a:t>
            </a:r>
          </a:p>
          <a:p>
            <a:pPr marL="342900" indent="-342900">
              <a:buFont typeface="Arial" panose="020B0604020202020204" pitchFamily="34" charset="0"/>
              <a:buChar char="•"/>
            </a:pPr>
            <a:r>
              <a:rPr lang="en-US" dirty="0" smtClean="0"/>
              <a:t>Less presentation/More Discussion</a:t>
            </a:r>
          </a:p>
          <a:p>
            <a:pPr marL="823989" lvl="1" indent="-342900">
              <a:buFont typeface="Arial" panose="020B0604020202020204" pitchFamily="34" charset="0"/>
              <a:buChar char="•"/>
            </a:pPr>
            <a:r>
              <a:rPr lang="en-US" dirty="0" smtClean="0"/>
              <a:t>The WaTech/OCIO Updates limited to 45 minutes</a:t>
            </a:r>
          </a:p>
          <a:p>
            <a:pPr marL="823989" lvl="1" indent="-342900">
              <a:buFont typeface="Arial" panose="020B0604020202020204" pitchFamily="34" charset="0"/>
              <a:buChar char="•"/>
            </a:pPr>
            <a:r>
              <a:rPr lang="en-US" dirty="0" smtClean="0"/>
              <a:t>Two round table discussion topics</a:t>
            </a:r>
          </a:p>
          <a:p>
            <a:pPr marL="342900" indent="-342900">
              <a:buFont typeface="Arial" panose="020B0604020202020204" pitchFamily="34" charset="0"/>
              <a:buChar char="•"/>
            </a:pPr>
            <a:r>
              <a:rPr lang="en-US" dirty="0" smtClean="0"/>
              <a:t>Built in time for peer connect	</a:t>
            </a:r>
            <a:endParaRPr lang="en-US" dirty="0"/>
          </a:p>
        </p:txBody>
      </p:sp>
      <p:sp>
        <p:nvSpPr>
          <p:cNvPr id="6" name="Content Placeholder 5"/>
          <p:cNvSpPr>
            <a:spLocks noGrp="1"/>
          </p:cNvSpPr>
          <p:nvPr>
            <p:ph sz="quarter" idx="11"/>
          </p:nvPr>
        </p:nvSpPr>
        <p:spPr/>
        <p:txBody>
          <a:bodyPr/>
          <a:lstStyle/>
          <a:p>
            <a:r>
              <a:rPr lang="en-US" b="1" u="sng" dirty="0" smtClean="0"/>
              <a:t>Long Term Changes</a:t>
            </a:r>
          </a:p>
          <a:p>
            <a:pPr marL="342900" indent="-342900">
              <a:buFont typeface="Arial" panose="020B0604020202020204" pitchFamily="34" charset="0"/>
              <a:buChar char="•"/>
            </a:pPr>
            <a:r>
              <a:rPr lang="en-US" dirty="0" smtClean="0"/>
              <a:t>Venue change</a:t>
            </a:r>
          </a:p>
          <a:p>
            <a:pPr marL="823989" lvl="1" indent="-342900">
              <a:buFont typeface="Arial" panose="020B0604020202020204" pitchFamily="34" charset="0"/>
              <a:buChar char="•"/>
            </a:pPr>
            <a:r>
              <a:rPr lang="en-US" dirty="0" smtClean="0"/>
              <a:t>LNI or DOH</a:t>
            </a:r>
          </a:p>
          <a:p>
            <a:pPr marL="342900" indent="-342900">
              <a:buFont typeface="Arial" panose="020B0604020202020204" pitchFamily="34" charset="0"/>
              <a:buChar char="•"/>
            </a:pPr>
            <a:r>
              <a:rPr lang="en-US" dirty="0" smtClean="0"/>
              <a:t>Meeting time change</a:t>
            </a:r>
          </a:p>
          <a:p>
            <a:pPr marL="823989" lvl="1" indent="-342900">
              <a:buFont typeface="Arial" panose="020B0604020202020204" pitchFamily="34" charset="0"/>
              <a:buChar char="•"/>
            </a:pPr>
            <a:r>
              <a:rPr lang="en-US" dirty="0" smtClean="0"/>
              <a:t>3:00 – 5:00</a:t>
            </a:r>
          </a:p>
          <a:p>
            <a:pPr marL="342900" indent="-342900">
              <a:buFont typeface="Arial" panose="020B0604020202020204" pitchFamily="34" charset="0"/>
              <a:buChar char="•"/>
            </a:pPr>
            <a:r>
              <a:rPr lang="en-US" dirty="0" smtClean="0"/>
              <a:t>A more CIO driven agenda</a:t>
            </a:r>
            <a:endParaRPr lang="en-US" dirty="0"/>
          </a:p>
        </p:txBody>
      </p:sp>
    </p:spTree>
    <p:extLst>
      <p:ext uri="{BB962C8B-B14F-4D97-AF65-F5344CB8AC3E}">
        <p14:creationId xmlns:p14="http://schemas.microsoft.com/office/powerpoint/2010/main" val="18957322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State CIO Update</a:t>
            </a:r>
            <a:endParaRPr lang="en-US" dirty="0"/>
          </a:p>
        </p:txBody>
      </p:sp>
      <p:sp>
        <p:nvSpPr>
          <p:cNvPr id="9" name="Text Placeholder 8"/>
          <p:cNvSpPr>
            <a:spLocks noGrp="1"/>
          </p:cNvSpPr>
          <p:nvPr>
            <p:ph type="body" sz="quarter" idx="12"/>
          </p:nvPr>
        </p:nvSpPr>
        <p:spPr/>
        <p:txBody>
          <a:bodyPr/>
          <a:lstStyle/>
          <a:p>
            <a:r>
              <a:rPr lang="en-US" dirty="0" smtClean="0"/>
              <a:t>Rob St. John</a:t>
            </a:r>
            <a:endParaRPr lang="en-US" dirty="0"/>
          </a:p>
        </p:txBody>
      </p:sp>
    </p:spTree>
    <p:extLst>
      <p:ext uri="{BB962C8B-B14F-4D97-AF65-F5344CB8AC3E}">
        <p14:creationId xmlns:p14="http://schemas.microsoft.com/office/powerpoint/2010/main" val="8092390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contact.wa.gov</a:t>
            </a:r>
            <a:endParaRPr lang="en-US" dirty="0"/>
          </a:p>
        </p:txBody>
      </p:sp>
      <p:sp>
        <p:nvSpPr>
          <p:cNvPr id="9" name="Text Placeholder 8"/>
          <p:cNvSpPr>
            <a:spLocks noGrp="1"/>
          </p:cNvSpPr>
          <p:nvPr>
            <p:ph type="body" sz="quarter" idx="12"/>
          </p:nvPr>
        </p:nvSpPr>
        <p:spPr/>
        <p:txBody>
          <a:bodyPr/>
          <a:lstStyle/>
          <a:p>
            <a:r>
              <a:rPr lang="en-US" dirty="0" smtClean="0"/>
              <a:t>Heidi Geathers, WaTech</a:t>
            </a:r>
          </a:p>
          <a:p>
            <a:r>
              <a:rPr lang="en-US" dirty="0" smtClean="0"/>
              <a:t>Marilyn Freeman, WaTech</a:t>
            </a:r>
            <a:endParaRPr lang="en-US" dirty="0"/>
          </a:p>
        </p:txBody>
      </p:sp>
    </p:spTree>
    <p:extLst>
      <p:ext uri="{BB962C8B-B14F-4D97-AF65-F5344CB8AC3E}">
        <p14:creationId xmlns:p14="http://schemas.microsoft.com/office/powerpoint/2010/main" val="1693295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change 2016 Update</a:t>
            </a:r>
            <a:endParaRPr lang="en-US" dirty="0"/>
          </a:p>
        </p:txBody>
      </p:sp>
      <p:sp>
        <p:nvSpPr>
          <p:cNvPr id="5" name="Text Placeholder 4"/>
          <p:cNvSpPr>
            <a:spLocks noGrp="1"/>
          </p:cNvSpPr>
          <p:nvPr>
            <p:ph type="body" sz="quarter" idx="12"/>
          </p:nvPr>
        </p:nvSpPr>
        <p:spPr/>
        <p:txBody>
          <a:bodyPr/>
          <a:lstStyle/>
          <a:p>
            <a:r>
              <a:rPr lang="en-US" dirty="0" smtClean="0"/>
              <a:t>Lance Calisch, WaTech</a:t>
            </a:r>
            <a:endParaRPr lang="en-US" dirty="0"/>
          </a:p>
        </p:txBody>
      </p:sp>
    </p:spTree>
    <p:extLst>
      <p:ext uri="{BB962C8B-B14F-4D97-AF65-F5344CB8AC3E}">
        <p14:creationId xmlns:p14="http://schemas.microsoft.com/office/powerpoint/2010/main" val="22632166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13501" y="894728"/>
            <a:ext cx="4367854" cy="1750011"/>
          </a:xfrm>
        </p:spPr>
        <p:txBody>
          <a:bodyPr/>
          <a:lstStyle/>
          <a:p>
            <a:r>
              <a:rPr lang="en-US" dirty="0" smtClean="0"/>
              <a:t>OCIO Update	</a:t>
            </a:r>
            <a:endParaRPr lang="en-US" dirty="0"/>
          </a:p>
        </p:txBody>
      </p:sp>
      <p:sp>
        <p:nvSpPr>
          <p:cNvPr id="5" name="Text Placeholder 4"/>
          <p:cNvSpPr>
            <a:spLocks noGrp="1"/>
          </p:cNvSpPr>
          <p:nvPr>
            <p:ph type="body" sz="quarter" idx="12"/>
          </p:nvPr>
        </p:nvSpPr>
        <p:spPr>
          <a:xfrm>
            <a:off x="613501" y="2777904"/>
            <a:ext cx="4357558" cy="1376846"/>
          </a:xfrm>
        </p:spPr>
        <p:txBody>
          <a:bodyPr/>
          <a:lstStyle/>
          <a:p>
            <a:r>
              <a:rPr lang="en-US" dirty="0" smtClean="0"/>
              <a:t>Sue Langen, OCIO</a:t>
            </a:r>
          </a:p>
          <a:p>
            <a:r>
              <a:rPr lang="en-US" dirty="0" smtClean="0"/>
              <a:t>Laura Parma, OCIO</a:t>
            </a:r>
          </a:p>
          <a:p>
            <a:r>
              <a:rPr lang="en-US" dirty="0" smtClean="0"/>
              <a:t>Derek Puckett, OCIO</a:t>
            </a:r>
          </a:p>
          <a:p>
            <a:r>
              <a:rPr lang="en-US" dirty="0" smtClean="0"/>
              <a:t>Cammy Webster, OCIO</a:t>
            </a:r>
          </a:p>
          <a:p>
            <a:r>
              <a:rPr lang="en-US" dirty="0" smtClean="0"/>
              <a:t>Whitney Dickinson, OCIO</a:t>
            </a:r>
          </a:p>
          <a:p>
            <a:endParaRPr lang="en-US" dirty="0"/>
          </a:p>
        </p:txBody>
      </p:sp>
    </p:spTree>
    <p:extLst>
      <p:ext uri="{BB962C8B-B14F-4D97-AF65-F5344CB8AC3E}">
        <p14:creationId xmlns:p14="http://schemas.microsoft.com/office/powerpoint/2010/main" val="245841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CIO Updates</a:t>
            </a:r>
            <a:endParaRPr lang="en-US" dirty="0"/>
          </a:p>
        </p:txBody>
      </p:sp>
      <p:sp>
        <p:nvSpPr>
          <p:cNvPr id="3" name="Text Placeholder 2"/>
          <p:cNvSpPr>
            <a:spLocks noGrp="1"/>
          </p:cNvSpPr>
          <p:nvPr>
            <p:ph type="body" idx="1"/>
          </p:nvPr>
        </p:nvSpPr>
        <p:spPr/>
        <p:txBody>
          <a:bodyPr/>
          <a:lstStyle/>
          <a:p>
            <a:r>
              <a:rPr lang="en-US" dirty="0" smtClean="0"/>
              <a:t>April 11, 2018</a:t>
            </a:r>
            <a:endParaRPr lang="en-US" dirty="0"/>
          </a:p>
        </p:txBody>
      </p:sp>
    </p:spTree>
    <p:extLst>
      <p:ext uri="{BB962C8B-B14F-4D97-AF65-F5344CB8AC3E}">
        <p14:creationId xmlns:p14="http://schemas.microsoft.com/office/powerpoint/2010/main" val="1116616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licy &amp; Process Updates</a:t>
            </a:r>
            <a:endParaRPr lang="en-US" dirty="0"/>
          </a:p>
        </p:txBody>
      </p:sp>
      <p:sp>
        <p:nvSpPr>
          <p:cNvPr id="3" name="Content Placeholder 2"/>
          <p:cNvSpPr>
            <a:spLocks noGrp="1"/>
          </p:cNvSpPr>
          <p:nvPr>
            <p:ph idx="1"/>
          </p:nvPr>
        </p:nvSpPr>
        <p:spPr/>
        <p:txBody>
          <a:bodyPr/>
          <a:lstStyle/>
          <a:p>
            <a:r>
              <a:rPr lang="en-US" dirty="0" smtClean="0"/>
              <a:t>Related to Policy 121 – Approvals &amp; Oversight Policy</a:t>
            </a:r>
          </a:p>
          <a:p>
            <a:pPr lvl="1"/>
            <a:r>
              <a:rPr lang="en-US" dirty="0" smtClean="0"/>
              <a:t>Updated IT Project Assessment Tool</a:t>
            </a:r>
          </a:p>
          <a:p>
            <a:pPr lvl="1"/>
            <a:r>
              <a:rPr lang="en-US" dirty="0" smtClean="0"/>
              <a:t>Updated Investment Plan template</a:t>
            </a:r>
          </a:p>
          <a:p>
            <a:pPr lvl="1"/>
            <a:r>
              <a:rPr lang="en-US" dirty="0" smtClean="0"/>
              <a:t>Updated Policy to include ‘no assessment needed’ thresholds</a:t>
            </a:r>
          </a:p>
          <a:p>
            <a:pPr lvl="2"/>
            <a:r>
              <a:rPr lang="en-US" dirty="0" smtClean="0"/>
              <a:t>Will go out for CIO review in near future</a:t>
            </a:r>
          </a:p>
          <a:p>
            <a:r>
              <a:rPr lang="en-US" dirty="0" smtClean="0"/>
              <a:t>Related to Policy 112 – Managing IT Portfolios</a:t>
            </a:r>
          </a:p>
          <a:p>
            <a:pPr lvl="1"/>
            <a:r>
              <a:rPr lang="en-US" dirty="0" smtClean="0"/>
              <a:t>Interim change only ahead of annual certification</a:t>
            </a:r>
          </a:p>
          <a:p>
            <a:pPr lvl="1"/>
            <a:r>
              <a:rPr lang="en-US" dirty="0" smtClean="0"/>
              <a:t>Policy broken into policy + standards to make easier to consume</a:t>
            </a:r>
          </a:p>
          <a:p>
            <a:pPr lvl="1"/>
            <a:r>
              <a:rPr lang="en-US" dirty="0" smtClean="0"/>
              <a:t>Out for CIO review now</a:t>
            </a:r>
            <a:endParaRPr lang="en-US" dirty="0"/>
          </a:p>
        </p:txBody>
      </p:sp>
    </p:spTree>
    <p:extLst>
      <p:ext uri="{BB962C8B-B14F-4D97-AF65-F5344CB8AC3E}">
        <p14:creationId xmlns:p14="http://schemas.microsoft.com/office/powerpoint/2010/main" val="2461900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A Tech PPT Template">
  <a:themeElements>
    <a:clrScheme name="WaTech">
      <a:dk1>
        <a:srgbClr val="717073"/>
      </a:dk1>
      <a:lt1>
        <a:srgbClr val="FFFFFF"/>
      </a:lt1>
      <a:dk2>
        <a:srgbClr val="000000"/>
      </a:dk2>
      <a:lt2>
        <a:srgbClr val="FFFFFF"/>
      </a:lt2>
      <a:accent1>
        <a:srgbClr val="580069"/>
      </a:accent1>
      <a:accent2>
        <a:srgbClr val="73AE14"/>
      </a:accent2>
      <a:accent3>
        <a:srgbClr val="0C3A69"/>
      </a:accent3>
      <a:accent4>
        <a:srgbClr val="9313A8"/>
      </a:accent4>
      <a:accent5>
        <a:srgbClr val="BBCB06"/>
      </a:accent5>
      <a:accent6>
        <a:srgbClr val="3388D5"/>
      </a:accent6>
      <a:hlink>
        <a:srgbClr val="9313A8"/>
      </a:hlink>
      <a:folHlink>
        <a:srgbClr val="0C3A6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marL="231775" indent="-231775">
          <a:spcAft>
            <a:spcPts val="600"/>
          </a:spcAft>
          <a:buSzPct val="70000"/>
          <a:buFont typeface="Wingdings 3" pitchFamily="18" charset="2"/>
          <a:buChar char="}"/>
          <a:defRPr sz="2400" spc="-7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 WaTech PPT Template [Read-Only]" id="{7ED877E3-D945-4CF5-A308-80E6025D93C4}" vid="{59A92B6C-882F-424B-88E0-24FAF58C32CB}"/>
    </a:ext>
  </a:extLst>
</a:theme>
</file>

<file path=ppt/theme/theme2.xml><?xml version="1.0" encoding="utf-8"?>
<a:theme xmlns:a="http://schemas.openxmlformats.org/drawingml/2006/main" name="Icon Libr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ster WaTech PPT Template [Read-Only]" id="{7ED877E3-D945-4CF5-A308-80E6025D93C4}" vid="{0FB282E2-3BD3-46FC-ADD5-E0ACD529F53E}"/>
    </a:ext>
  </a:extLst>
</a:theme>
</file>

<file path=ppt/theme/theme3.xml><?xml version="1.0" encoding="utf-8"?>
<a:theme xmlns:a="http://schemas.openxmlformats.org/drawingml/2006/main" name="Gartner_Consulting 2016">
  <a:themeElements>
    <a:clrScheme name="Gartner-Consulting 2016">
      <a:dk1>
        <a:srgbClr val="000000"/>
      </a:dk1>
      <a:lt1>
        <a:srgbClr val="FFFFFF"/>
      </a:lt1>
      <a:dk2>
        <a:srgbClr val="00254C"/>
      </a:dk2>
      <a:lt2>
        <a:srgbClr val="FFFFFF"/>
      </a:lt2>
      <a:accent1>
        <a:srgbClr val="00529B"/>
      </a:accent1>
      <a:accent2>
        <a:srgbClr val="00A5E3"/>
      </a:accent2>
      <a:accent3>
        <a:srgbClr val="66C9EE"/>
      </a:accent3>
      <a:accent4>
        <a:srgbClr val="B2E0F7"/>
      </a:accent4>
      <a:accent5>
        <a:srgbClr val="BFBFBF"/>
      </a:accent5>
      <a:accent6>
        <a:srgbClr val="46A33F"/>
      </a:accent6>
      <a:hlink>
        <a:srgbClr val="667C94"/>
      </a:hlink>
      <a:folHlink>
        <a:srgbClr val="6E96D5"/>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custClrLst>
    <a:custClr name="Gartner Blue">
      <a:srgbClr val="00529B"/>
    </a:custClr>
    <a:custClr name="Black">
      <a:srgbClr val="000000"/>
    </a:custClr>
    <a:custClr name="Gold">
      <a:srgbClr val="FCAF17"/>
    </a:custClr>
    <a:custClr name="Light Blue">
      <a:srgbClr val="00A5E3"/>
    </a:custClr>
    <a:custClr name="Dark Blue">
      <a:srgbClr val="00254C"/>
    </a:custClr>
    <a:custClr name="Orange">
      <a:srgbClr val="E5550D"/>
    </a:custClr>
    <a:custClr name="Green">
      <a:srgbClr val="46A33F"/>
    </a:custClr>
    <a:custClr name="Purple">
      <a:srgbClr val="56129D"/>
    </a:custClr>
    <a:custClr name="Red">
      <a:srgbClr val="AC0000"/>
    </a:custClr>
    <a:custClr name="White">
      <a:srgbClr val="FFFFFF"/>
    </a:custClr>
    <a:custClr name="Gartner Blue 70%">
      <a:srgbClr val="B2CBE1"/>
    </a:custClr>
    <a:custClr name="Black 70%">
      <a:srgbClr val="B2B2B2"/>
    </a:custClr>
    <a:custClr name="Gold 70%">
      <a:srgbClr val="FEDFA2"/>
    </a:custClr>
    <a:custClr name="Light Blue70%">
      <a:srgbClr val="B2E4F7"/>
    </a:custClr>
    <a:custClr name="Dark Blue 70%">
      <a:srgbClr val="B2BDC9"/>
    </a:custClr>
    <a:custClr name="Orange 70%">
      <a:srgbClr val="F7CCB6"/>
    </a:custClr>
    <a:custClr name="Green 70%">
      <a:srgbClr val="C7E3C5"/>
    </a:custClr>
    <a:custClr name="Purple 70%">
      <a:srgbClr val="CCB7E1"/>
    </a:custClr>
    <a:custClr name="Red 70%">
      <a:srgbClr val="FFBBBB"/>
    </a:custClr>
    <a:custClr name="White">
      <a:srgbClr val="FFFFFF"/>
    </a:custClr>
    <a:custClr name="Gartner Blue 40%">
      <a:srgbClr val="6697C3"/>
    </a:custClr>
    <a:custClr name="Black 40%">
      <a:srgbClr val="666666"/>
    </a:custClr>
    <a:custClr name="Gold 40%">
      <a:srgbClr val="FDCF74"/>
    </a:custClr>
    <a:custClr name="Light Blue 40%">
      <a:srgbClr val="66C9EE"/>
    </a:custClr>
    <a:custClr name="Dark Blue 40%">
      <a:srgbClr val="667C94"/>
    </a:custClr>
    <a:custClr name="Orange 40%">
      <a:srgbClr val="EF996E"/>
    </a:custClr>
    <a:custClr name="Green 40%">
      <a:srgbClr val="90C88C"/>
    </a:custClr>
    <a:custClr name="Purple 40%">
      <a:srgbClr val="9470BA"/>
    </a:custClr>
    <a:custClr name="Red 40%">
      <a:srgbClr val="FE0000"/>
    </a:custClr>
    <a:custClr name="White">
      <a:srgbClr val="FFFFFF"/>
    </a:custClr>
  </a:custClrLst>
  <a:extLst>
    <a:ext uri="{05A4C25C-085E-4340-85A3-A5531E510DB2}">
      <thm15:themeFamily xmlns:thm15="http://schemas.microsoft.com/office/thememl/2012/main" name="Presentation1" id="{D844D097-7F65-4664-B56E-BBAEF6DF1C53}" vid="{E46A47C6-B1CC-4663-9F29-D324C92CD2D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6471C9BA4AC5E4289EA6C5DD7B8D557" ma:contentTypeVersion="0" ma:contentTypeDescription="Create a new document." ma:contentTypeScope="" ma:versionID="57077275d441ce24c64727c53df54266">
  <xsd:schema xmlns:xsd="http://www.w3.org/2001/XMLSchema" xmlns:xs="http://www.w3.org/2001/XMLSchema" xmlns:p="http://schemas.microsoft.com/office/2006/metadata/properties" targetNamespace="http://schemas.microsoft.com/office/2006/metadata/properties" ma:root="true" ma:fieldsID="dd76d102ae39cd717f9fae1f8ca66b46">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625D9E01-36DD-4745-AF75-A80C127D1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Master WaTech PPT Template</Template>
  <TotalTime>2770</TotalTime>
  <Words>843</Words>
  <Application>Microsoft Office PowerPoint</Application>
  <PresentationFormat>Widescreen</PresentationFormat>
  <Paragraphs>231</Paragraphs>
  <Slides>20</Slides>
  <Notes>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5" baseType="lpstr">
      <vt:lpstr>ＭＳ Ｐゴシック</vt:lpstr>
      <vt:lpstr>Arial</vt:lpstr>
      <vt:lpstr>Arial Unicode MS</vt:lpstr>
      <vt:lpstr>Calibri</vt:lpstr>
      <vt:lpstr>Calibri Light</vt:lpstr>
      <vt:lpstr>Segoe UI</vt:lpstr>
      <vt:lpstr>Times</vt:lpstr>
      <vt:lpstr>Trebuchet MS</vt:lpstr>
      <vt:lpstr>Wingdings</vt:lpstr>
      <vt:lpstr>Wingdings 3</vt:lpstr>
      <vt:lpstr>WA Tech PPT Template</vt:lpstr>
      <vt:lpstr>Icon Library</vt:lpstr>
      <vt:lpstr>Gartner_Consulting 2016</vt:lpstr>
      <vt:lpstr>Office Theme</vt:lpstr>
      <vt:lpstr>think-cell Slide</vt:lpstr>
      <vt:lpstr>CIO Forum</vt:lpstr>
      <vt:lpstr>CIO Forum Vision Discussion</vt:lpstr>
      <vt:lpstr>Changes to the CIO Forum</vt:lpstr>
      <vt:lpstr>State CIO Update</vt:lpstr>
      <vt:lpstr>contact.wa.gov</vt:lpstr>
      <vt:lpstr>Exchange 2016 Update</vt:lpstr>
      <vt:lpstr>OCIO Update </vt:lpstr>
      <vt:lpstr>OCIO Updates</vt:lpstr>
      <vt:lpstr>Policy &amp; Process Updates</vt:lpstr>
      <vt:lpstr>Technology Pool</vt:lpstr>
      <vt:lpstr>Decision Package Prioritization Process</vt:lpstr>
      <vt:lpstr>Policy Calendar Update (as of 4/10/2018)</vt:lpstr>
      <vt:lpstr>Project Go-Lives – Recent and Near Term</vt:lpstr>
      <vt:lpstr>Heads Up Items</vt:lpstr>
      <vt:lpstr>WaTech Customer Satisfaction Survey </vt:lpstr>
      <vt:lpstr>WaTech Customer Satisfaction Survey</vt:lpstr>
      <vt:lpstr>SharePoint and Cloud Highway </vt:lpstr>
      <vt:lpstr>Exchange 2016 </vt:lpstr>
      <vt:lpstr>Round Table Discussion</vt:lpstr>
      <vt:lpstr>Good of the Order Updates, Questions, Answers, Agenda Ideas</vt:lpstr>
    </vt:vector>
  </TitlesOfParts>
  <Manager>&lt;Content Manager Name Here&gt;</Manager>
  <Company>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Cover Slide</dc:title>
  <dc:subject>&lt;Event Name&gt;</dc:subject>
  <dc:creator>Freeman, Marilyn (OCIO)</dc:creator>
  <cp:keywords>&lt;Any Related Keywords&gt;</cp:keywords>
  <dc:description>Template: _x000d_
Formatting: _x000d_
Event Date: _x000d_
Event Location: _x000d_
Audience Type:</dc:description>
  <cp:lastModifiedBy>Bailey, Matthew (WaTech)</cp:lastModifiedBy>
  <cp:revision>59</cp:revision>
  <cp:lastPrinted>2015-12-01T23:29:14Z</cp:lastPrinted>
  <dcterms:created xsi:type="dcterms:W3CDTF">2015-12-01T23:22:10Z</dcterms:created>
  <dcterms:modified xsi:type="dcterms:W3CDTF">2018-04-12T16:4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471C9BA4AC5E4289EA6C5DD7B8D55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IsMyDocuments">
    <vt:bool>true</vt:bool>
  </property>
</Properties>
</file>